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4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9" r:id="rId6"/>
    <p:sldMasterId id="2147483687" r:id="rId7"/>
  </p:sldMasterIdLst>
  <p:notesMasterIdLst>
    <p:notesMasterId r:id="rId30"/>
  </p:notesMasterIdLst>
  <p:sldIdLst>
    <p:sldId id="1134" r:id="rId8"/>
    <p:sldId id="1172" r:id="rId9"/>
    <p:sldId id="1174" r:id="rId10"/>
    <p:sldId id="1130" r:id="rId11"/>
    <p:sldId id="1162" r:id="rId12"/>
    <p:sldId id="1163" r:id="rId13"/>
    <p:sldId id="1167" r:id="rId14"/>
    <p:sldId id="1170" r:id="rId15"/>
    <p:sldId id="592" r:id="rId16"/>
    <p:sldId id="692" r:id="rId17"/>
    <p:sldId id="1144" r:id="rId18"/>
    <p:sldId id="1145" r:id="rId19"/>
    <p:sldId id="1148" r:id="rId20"/>
    <p:sldId id="1169" r:id="rId21"/>
    <p:sldId id="296" r:id="rId22"/>
    <p:sldId id="1135" r:id="rId23"/>
    <p:sldId id="1136" r:id="rId24"/>
    <p:sldId id="1182" r:id="rId25"/>
    <p:sldId id="1183" r:id="rId26"/>
    <p:sldId id="1180" r:id="rId27"/>
    <p:sldId id="1171" r:id="rId28"/>
    <p:sldId id="1181" r:id="rId29"/>
  </p:sldIdLst>
  <p:sldSz cx="9144000" cy="5143500" type="screen16x9"/>
  <p:notesSz cx="7099300" cy="10234613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9B073"/>
    <a:srgbClr val="00FFFF"/>
    <a:srgbClr val="000000"/>
    <a:srgbClr val="4F81BD"/>
    <a:srgbClr val="948A54"/>
    <a:srgbClr val="CC6600"/>
    <a:srgbClr val="660066"/>
    <a:srgbClr val="0066FF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36" autoAdjust="0"/>
    <p:restoredTop sz="84182" autoAdjust="0"/>
  </p:normalViewPr>
  <p:slideViewPr>
    <p:cSldViewPr>
      <p:cViewPr varScale="1">
        <p:scale>
          <a:sx n="102" d="100"/>
          <a:sy n="102" d="100"/>
        </p:scale>
        <p:origin x="1026" y="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pt-BR" sz="1800" b="1" dirty="0"/>
              <a:t>Investimentos em </a:t>
            </a:r>
            <a:r>
              <a:rPr lang="pt-BR" sz="1800" b="1" dirty="0" smtClean="0"/>
              <a:t>PD&amp;I - </a:t>
            </a:r>
            <a:r>
              <a:rPr lang="pt-BR" sz="1800" b="1" dirty="0" err="1" smtClean="0"/>
              <a:t>TICs</a:t>
            </a:r>
            <a:r>
              <a:rPr lang="pt-BR" sz="1800" b="1" dirty="0" smtClean="0"/>
              <a:t> e Telecomunicações (Milhões R$)</a:t>
            </a:r>
            <a:endParaRPr lang="pt-BR" sz="1800" b="1" dirty="0"/>
          </a:p>
        </c:rich>
      </c:tx>
      <c:layout>
        <c:manualLayout>
          <c:xMode val="edge"/>
          <c:yMode val="edge"/>
          <c:x val="0.14449110031545317"/>
          <c:y val="9.586147639253890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Conveniado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Planilh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Planilha1!$B$2:$B$5</c:f>
              <c:numCache>
                <c:formatCode>"R$"#,##0.00_);[Red]\("R$"#,##0.00\)</c:formatCode>
                <c:ptCount val="4"/>
                <c:pt idx="0">
                  <c:v>372.5</c:v>
                </c:pt>
                <c:pt idx="1">
                  <c:v>396.7</c:v>
                </c:pt>
                <c:pt idx="2">
                  <c:v>355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E97-4E13-8B85-DAF76F240D29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Proprio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Planilh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Planilha1!$C$2:$C$5</c:f>
              <c:numCache>
                <c:formatCode>"R$"#,##0.00_);[Red]\("R$"#,##0.00\)</c:formatCode>
                <c:ptCount val="4"/>
                <c:pt idx="0">
                  <c:v>142.94999999999999</c:v>
                </c:pt>
                <c:pt idx="1">
                  <c:v>223.05</c:v>
                </c:pt>
                <c:pt idx="2">
                  <c:v>312.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E97-4E13-8B85-DAF76F240D2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25"/>
        <c:axId val="535321840"/>
        <c:axId val="535321448"/>
      </c:barChart>
      <c:catAx>
        <c:axId val="535321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35321448"/>
        <c:crosses val="autoZero"/>
        <c:auto val="1"/>
        <c:lblAlgn val="ctr"/>
        <c:lblOffset val="100"/>
        <c:noMultiLvlLbl val="0"/>
      </c:catAx>
      <c:valAx>
        <c:axId val="535321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&quot;R$&quot;#,##0.00_);[Red]\(&quot;R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35321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B74EBF-AAEF-4973-B6F7-644C9D7C66CF}" type="doc">
      <dgm:prSet loTypeId="urn:microsoft.com/office/officeart/2005/8/layout/vProcess5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pt-BR"/>
        </a:p>
      </dgm:t>
    </dgm:pt>
    <dgm:pt modelId="{20C7FD40-CDFB-4F63-BC3F-2B29A7008EB3}">
      <dgm:prSet/>
      <dgm:spPr/>
      <dgm:t>
        <a:bodyPr/>
        <a:lstStyle/>
        <a:p>
          <a:pPr rtl="0"/>
          <a:r>
            <a:rPr lang="pt-BR" baseline="0" smtClean="0"/>
            <a:t>O ecossistema do 5G no Brasil</a:t>
          </a:r>
          <a:endParaRPr lang="pt-BR"/>
        </a:p>
      </dgm:t>
    </dgm:pt>
    <dgm:pt modelId="{BF876F35-A585-446F-9900-20CC3A44F9C9}" type="parTrans" cxnId="{6CC1FAB9-9BE5-455F-8480-308271B263E2}">
      <dgm:prSet/>
      <dgm:spPr/>
      <dgm:t>
        <a:bodyPr/>
        <a:lstStyle/>
        <a:p>
          <a:endParaRPr lang="pt-BR"/>
        </a:p>
      </dgm:t>
    </dgm:pt>
    <dgm:pt modelId="{D910957A-D77D-43C4-8C5C-FF892C5BCBD1}" type="sibTrans" cxnId="{6CC1FAB9-9BE5-455F-8480-308271B263E2}">
      <dgm:prSet/>
      <dgm:spPr/>
      <dgm:t>
        <a:bodyPr/>
        <a:lstStyle/>
        <a:p>
          <a:endParaRPr lang="pt-BR"/>
        </a:p>
      </dgm:t>
    </dgm:pt>
    <dgm:pt modelId="{EE85FDEB-03BB-48DB-B24F-D18BCD90AB60}">
      <dgm:prSet/>
      <dgm:spPr/>
      <dgm:t>
        <a:bodyPr/>
        <a:lstStyle/>
        <a:p>
          <a:pPr rtl="0"/>
          <a:r>
            <a:rPr lang="pt-BR" baseline="0" dirty="0" smtClean="0"/>
            <a:t>Perspectivas e aspectos econômicos do 5G no mundo e no Brasil</a:t>
          </a:r>
          <a:endParaRPr lang="pt-BR" dirty="0"/>
        </a:p>
      </dgm:t>
    </dgm:pt>
    <dgm:pt modelId="{DD68E711-DD9C-4ECA-B4BD-05ED7C09770C}" type="parTrans" cxnId="{AB4F18DE-3E2A-4AAE-8C3E-BE1DB44FCF0D}">
      <dgm:prSet/>
      <dgm:spPr/>
      <dgm:t>
        <a:bodyPr/>
        <a:lstStyle/>
        <a:p>
          <a:endParaRPr lang="pt-BR"/>
        </a:p>
      </dgm:t>
    </dgm:pt>
    <dgm:pt modelId="{D1F7CC24-1D89-4265-9A06-0E09388A4996}" type="sibTrans" cxnId="{AB4F18DE-3E2A-4AAE-8C3E-BE1DB44FCF0D}">
      <dgm:prSet/>
      <dgm:spPr/>
      <dgm:t>
        <a:bodyPr/>
        <a:lstStyle/>
        <a:p>
          <a:endParaRPr lang="pt-BR"/>
        </a:p>
      </dgm:t>
    </dgm:pt>
    <dgm:pt modelId="{7E92420C-437B-44F8-836F-351AFAB3BD61}">
      <dgm:prSet/>
      <dgm:spPr/>
      <dgm:t>
        <a:bodyPr/>
        <a:lstStyle/>
        <a:p>
          <a:pPr rtl="0"/>
          <a:r>
            <a:rPr lang="pt-BR" baseline="0" dirty="0" smtClean="0"/>
            <a:t>Aplicações e desafios do 5G no Brasil</a:t>
          </a:r>
          <a:endParaRPr lang="pt-BR" dirty="0"/>
        </a:p>
      </dgm:t>
    </dgm:pt>
    <dgm:pt modelId="{26040240-06CD-46FF-9D8E-6B0539B984C7}" type="parTrans" cxnId="{F300F1DD-8DA0-4E97-BA4B-648E24C8471A}">
      <dgm:prSet/>
      <dgm:spPr/>
      <dgm:t>
        <a:bodyPr/>
        <a:lstStyle/>
        <a:p>
          <a:endParaRPr lang="pt-BR"/>
        </a:p>
      </dgm:t>
    </dgm:pt>
    <dgm:pt modelId="{0503F7B7-D7EB-40F3-A706-FF7A2C0848E9}" type="sibTrans" cxnId="{F300F1DD-8DA0-4E97-BA4B-648E24C8471A}">
      <dgm:prSet/>
      <dgm:spPr/>
      <dgm:t>
        <a:bodyPr/>
        <a:lstStyle/>
        <a:p>
          <a:endParaRPr lang="pt-BR"/>
        </a:p>
      </dgm:t>
    </dgm:pt>
    <dgm:pt modelId="{876EC7F3-67D9-4B4C-ACAD-BF9306F3A2C6}">
      <dgm:prSet/>
      <dgm:spPr/>
      <dgm:t>
        <a:bodyPr/>
        <a:lstStyle/>
        <a:p>
          <a:pPr rtl="0"/>
          <a:r>
            <a:rPr lang="pt-BR" baseline="0" dirty="0" smtClean="0"/>
            <a:t>Ações do MCTI(MCTIC) sobre o 5G</a:t>
          </a:r>
          <a:endParaRPr lang="pt-BR" dirty="0"/>
        </a:p>
      </dgm:t>
    </dgm:pt>
    <dgm:pt modelId="{5129450C-CCF5-46FD-B6E6-5BD466F8FEA9}" type="parTrans" cxnId="{D0335D1D-C1F8-47CC-842A-98708001BBD7}">
      <dgm:prSet/>
      <dgm:spPr/>
      <dgm:t>
        <a:bodyPr/>
        <a:lstStyle/>
        <a:p>
          <a:endParaRPr lang="pt-BR"/>
        </a:p>
      </dgm:t>
    </dgm:pt>
    <dgm:pt modelId="{2A5779C1-317F-4EEB-BCEF-BA65B1CA9106}" type="sibTrans" cxnId="{D0335D1D-C1F8-47CC-842A-98708001BBD7}">
      <dgm:prSet/>
      <dgm:spPr/>
      <dgm:t>
        <a:bodyPr/>
        <a:lstStyle/>
        <a:p>
          <a:endParaRPr lang="pt-BR"/>
        </a:p>
      </dgm:t>
    </dgm:pt>
    <dgm:pt modelId="{342ED610-2FD5-437C-B405-0FD59641C9A9}">
      <dgm:prSet/>
      <dgm:spPr/>
      <dgm:t>
        <a:bodyPr/>
        <a:lstStyle/>
        <a:p>
          <a:pPr rtl="0"/>
          <a:r>
            <a:rPr lang="pt-BR" dirty="0" smtClean="0"/>
            <a:t>Leilão 5G</a:t>
          </a:r>
          <a:endParaRPr lang="pt-BR" dirty="0"/>
        </a:p>
      </dgm:t>
    </dgm:pt>
    <dgm:pt modelId="{0D46B61E-50D2-48B1-9023-4CAE76398B4C}" type="parTrans" cxnId="{6F186679-7469-466C-98C3-D0B9DA3E7CA8}">
      <dgm:prSet/>
      <dgm:spPr/>
      <dgm:t>
        <a:bodyPr/>
        <a:lstStyle/>
        <a:p>
          <a:endParaRPr lang="pt-BR"/>
        </a:p>
      </dgm:t>
    </dgm:pt>
    <dgm:pt modelId="{D9BD2B1F-BBA7-4E7D-BC2E-C096DB949980}" type="sibTrans" cxnId="{6F186679-7469-466C-98C3-D0B9DA3E7CA8}">
      <dgm:prSet/>
      <dgm:spPr/>
      <dgm:t>
        <a:bodyPr/>
        <a:lstStyle/>
        <a:p>
          <a:endParaRPr lang="pt-BR"/>
        </a:p>
      </dgm:t>
    </dgm:pt>
    <dgm:pt modelId="{2D6C8EF7-B137-4873-93E2-90AF540000FD}" type="pres">
      <dgm:prSet presAssocID="{B7B74EBF-AAEF-4973-B6F7-644C9D7C66CF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1AAD9D60-DDE6-4F05-8025-0E5D82E1946A}" type="pres">
      <dgm:prSet presAssocID="{B7B74EBF-AAEF-4973-B6F7-644C9D7C66CF}" presName="dummyMaxCanvas" presStyleCnt="0">
        <dgm:presLayoutVars/>
      </dgm:prSet>
      <dgm:spPr/>
    </dgm:pt>
    <dgm:pt modelId="{166EA9BC-3606-4F03-8946-1A11C1FD62A2}" type="pres">
      <dgm:prSet presAssocID="{B7B74EBF-AAEF-4973-B6F7-644C9D7C66CF}" presName="FiveNodes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EB38B53-279B-4DE9-8B18-DCD1130CE977}" type="pres">
      <dgm:prSet presAssocID="{B7B74EBF-AAEF-4973-B6F7-644C9D7C66CF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C23868C-09E7-4683-B559-3BC6AD7D2A64}" type="pres">
      <dgm:prSet presAssocID="{B7B74EBF-AAEF-4973-B6F7-644C9D7C66CF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0B8B20-9E34-48DE-939A-38C30E1A4934}" type="pres">
      <dgm:prSet presAssocID="{B7B74EBF-AAEF-4973-B6F7-644C9D7C66CF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D6188BA-0236-4D81-A3D7-6A7645452E81}" type="pres">
      <dgm:prSet presAssocID="{B7B74EBF-AAEF-4973-B6F7-644C9D7C66CF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AF418F2-580C-49FA-BC1E-89FC79B93C2E}" type="pres">
      <dgm:prSet presAssocID="{B7B74EBF-AAEF-4973-B6F7-644C9D7C66CF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2E0A378-6C90-48C1-BB74-94ECD265EA59}" type="pres">
      <dgm:prSet presAssocID="{B7B74EBF-AAEF-4973-B6F7-644C9D7C66CF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4AD2F01-54FF-4674-8040-665FB515C835}" type="pres">
      <dgm:prSet presAssocID="{B7B74EBF-AAEF-4973-B6F7-644C9D7C66CF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266A067-C990-4E52-B530-1D78F0B05E1B}" type="pres">
      <dgm:prSet presAssocID="{B7B74EBF-AAEF-4973-B6F7-644C9D7C66CF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BEDE211-882A-4027-BA3D-E54A38C4B1C5}" type="pres">
      <dgm:prSet presAssocID="{B7B74EBF-AAEF-4973-B6F7-644C9D7C66CF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5F07AEF-732E-453B-9526-3AE83F30F4C8}" type="pres">
      <dgm:prSet presAssocID="{B7B74EBF-AAEF-4973-B6F7-644C9D7C66CF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64CED5A-B925-491C-9078-372E88158CF7}" type="pres">
      <dgm:prSet presAssocID="{B7B74EBF-AAEF-4973-B6F7-644C9D7C66CF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0DA5885-C9E5-4664-9034-3E61A406D141}" type="pres">
      <dgm:prSet presAssocID="{B7B74EBF-AAEF-4973-B6F7-644C9D7C66CF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602433F-6EBD-466C-A374-F3699EAEEB6E}" type="pres">
      <dgm:prSet presAssocID="{B7B74EBF-AAEF-4973-B6F7-644C9D7C66CF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BEEF9101-8503-4F16-B7DA-91D620E0DB3A}" type="presOf" srcId="{2A5779C1-317F-4EEB-BCEF-BA65B1CA9106}" destId="{7266A067-C990-4E52-B530-1D78F0B05E1B}" srcOrd="0" destOrd="0" presId="urn:microsoft.com/office/officeart/2005/8/layout/vProcess5"/>
    <dgm:cxn modelId="{2A4FFC13-8E1D-4971-8241-3CE1A3CF5EAF}" type="presOf" srcId="{7E92420C-437B-44F8-836F-351AFAB3BD61}" destId="{7C23868C-09E7-4683-B559-3BC6AD7D2A64}" srcOrd="0" destOrd="0" presId="urn:microsoft.com/office/officeart/2005/8/layout/vProcess5"/>
    <dgm:cxn modelId="{5530EB99-F6F5-4C2B-8378-AD1D257C0E09}" type="presOf" srcId="{EE85FDEB-03BB-48DB-B24F-D18BCD90AB60}" destId="{5EB38B53-279B-4DE9-8B18-DCD1130CE977}" srcOrd="0" destOrd="0" presId="urn:microsoft.com/office/officeart/2005/8/layout/vProcess5"/>
    <dgm:cxn modelId="{D0335D1D-C1F8-47CC-842A-98708001BBD7}" srcId="{B7B74EBF-AAEF-4973-B6F7-644C9D7C66CF}" destId="{876EC7F3-67D9-4B4C-ACAD-BF9306F3A2C6}" srcOrd="3" destOrd="0" parTransId="{5129450C-CCF5-46FD-B6E6-5BD466F8FEA9}" sibTransId="{2A5779C1-317F-4EEB-BCEF-BA65B1CA9106}"/>
    <dgm:cxn modelId="{B92D1B7D-608A-4884-82FF-F86A62AFB199}" type="presOf" srcId="{20C7FD40-CDFB-4F63-BC3F-2B29A7008EB3}" destId="{CBEDE211-882A-4027-BA3D-E54A38C4B1C5}" srcOrd="1" destOrd="0" presId="urn:microsoft.com/office/officeart/2005/8/layout/vProcess5"/>
    <dgm:cxn modelId="{9B9B5801-7124-49D1-893D-A08BC53D3FBC}" type="presOf" srcId="{0503F7B7-D7EB-40F3-A706-FF7A2C0848E9}" destId="{54AD2F01-54FF-4674-8040-665FB515C835}" srcOrd="0" destOrd="0" presId="urn:microsoft.com/office/officeart/2005/8/layout/vProcess5"/>
    <dgm:cxn modelId="{6CC1FAB9-9BE5-455F-8480-308271B263E2}" srcId="{B7B74EBF-AAEF-4973-B6F7-644C9D7C66CF}" destId="{20C7FD40-CDFB-4F63-BC3F-2B29A7008EB3}" srcOrd="0" destOrd="0" parTransId="{BF876F35-A585-446F-9900-20CC3A44F9C9}" sibTransId="{D910957A-D77D-43C4-8C5C-FF892C5BCBD1}"/>
    <dgm:cxn modelId="{AB4F18DE-3E2A-4AAE-8C3E-BE1DB44FCF0D}" srcId="{B7B74EBF-AAEF-4973-B6F7-644C9D7C66CF}" destId="{EE85FDEB-03BB-48DB-B24F-D18BCD90AB60}" srcOrd="1" destOrd="0" parTransId="{DD68E711-DD9C-4ECA-B4BD-05ED7C09770C}" sibTransId="{D1F7CC24-1D89-4265-9A06-0E09388A4996}"/>
    <dgm:cxn modelId="{2384C7AF-35E1-497E-9391-2ACF0FF229B2}" type="presOf" srcId="{342ED610-2FD5-437C-B405-0FD59641C9A9}" destId="{1D6188BA-0236-4D81-A3D7-6A7645452E81}" srcOrd="0" destOrd="0" presId="urn:microsoft.com/office/officeart/2005/8/layout/vProcess5"/>
    <dgm:cxn modelId="{6F186679-7469-466C-98C3-D0B9DA3E7CA8}" srcId="{B7B74EBF-AAEF-4973-B6F7-644C9D7C66CF}" destId="{342ED610-2FD5-437C-B405-0FD59641C9A9}" srcOrd="4" destOrd="0" parTransId="{0D46B61E-50D2-48B1-9023-4CAE76398B4C}" sibTransId="{D9BD2B1F-BBA7-4E7D-BC2E-C096DB949980}"/>
    <dgm:cxn modelId="{C13963A7-470D-4D44-8A9C-06CF20762BC0}" type="presOf" srcId="{876EC7F3-67D9-4B4C-ACAD-BF9306F3A2C6}" destId="{20DA5885-C9E5-4664-9034-3E61A406D141}" srcOrd="1" destOrd="0" presId="urn:microsoft.com/office/officeart/2005/8/layout/vProcess5"/>
    <dgm:cxn modelId="{7E151609-85CB-479E-8448-4D7B205E0B33}" type="presOf" srcId="{20C7FD40-CDFB-4F63-BC3F-2B29A7008EB3}" destId="{166EA9BC-3606-4F03-8946-1A11C1FD62A2}" srcOrd="0" destOrd="0" presId="urn:microsoft.com/office/officeart/2005/8/layout/vProcess5"/>
    <dgm:cxn modelId="{F300F1DD-8DA0-4E97-BA4B-648E24C8471A}" srcId="{B7B74EBF-AAEF-4973-B6F7-644C9D7C66CF}" destId="{7E92420C-437B-44F8-836F-351AFAB3BD61}" srcOrd="2" destOrd="0" parTransId="{26040240-06CD-46FF-9D8E-6B0539B984C7}" sibTransId="{0503F7B7-D7EB-40F3-A706-FF7A2C0848E9}"/>
    <dgm:cxn modelId="{521A91E7-E223-4054-B69F-9737C7C2BA45}" type="presOf" srcId="{B7B74EBF-AAEF-4973-B6F7-644C9D7C66CF}" destId="{2D6C8EF7-B137-4873-93E2-90AF540000FD}" srcOrd="0" destOrd="0" presId="urn:microsoft.com/office/officeart/2005/8/layout/vProcess5"/>
    <dgm:cxn modelId="{F47B4CB9-35D4-4CAB-9CF2-9F91FB3B4BE2}" type="presOf" srcId="{EE85FDEB-03BB-48DB-B24F-D18BCD90AB60}" destId="{65F07AEF-732E-453B-9526-3AE83F30F4C8}" srcOrd="1" destOrd="0" presId="urn:microsoft.com/office/officeart/2005/8/layout/vProcess5"/>
    <dgm:cxn modelId="{F6085F37-1338-4DCB-AD86-D41772251BF8}" type="presOf" srcId="{342ED610-2FD5-437C-B405-0FD59641C9A9}" destId="{D602433F-6EBD-466C-A374-F3699EAEEB6E}" srcOrd="1" destOrd="0" presId="urn:microsoft.com/office/officeart/2005/8/layout/vProcess5"/>
    <dgm:cxn modelId="{D7043E0F-6B95-4326-B555-1B13D985C617}" type="presOf" srcId="{D1F7CC24-1D89-4265-9A06-0E09388A4996}" destId="{E2E0A378-6C90-48C1-BB74-94ECD265EA59}" srcOrd="0" destOrd="0" presId="urn:microsoft.com/office/officeart/2005/8/layout/vProcess5"/>
    <dgm:cxn modelId="{EE8D4E48-ECC7-4E2F-834B-A84D00A1D2D0}" type="presOf" srcId="{7E92420C-437B-44F8-836F-351AFAB3BD61}" destId="{F64CED5A-B925-491C-9078-372E88158CF7}" srcOrd="1" destOrd="0" presId="urn:microsoft.com/office/officeart/2005/8/layout/vProcess5"/>
    <dgm:cxn modelId="{13D4D59D-E063-4FE5-A5F9-77298384C99B}" type="presOf" srcId="{D910957A-D77D-43C4-8C5C-FF892C5BCBD1}" destId="{3AF418F2-580C-49FA-BC1E-89FC79B93C2E}" srcOrd="0" destOrd="0" presId="urn:microsoft.com/office/officeart/2005/8/layout/vProcess5"/>
    <dgm:cxn modelId="{F0FEFECF-84D8-45D4-ABBE-C761ADC59A7F}" type="presOf" srcId="{876EC7F3-67D9-4B4C-ACAD-BF9306F3A2C6}" destId="{700B8B20-9E34-48DE-939A-38C30E1A4934}" srcOrd="0" destOrd="0" presId="urn:microsoft.com/office/officeart/2005/8/layout/vProcess5"/>
    <dgm:cxn modelId="{FD47AA58-841B-4FB1-86FE-B289F0B3E681}" type="presParOf" srcId="{2D6C8EF7-B137-4873-93E2-90AF540000FD}" destId="{1AAD9D60-DDE6-4F05-8025-0E5D82E1946A}" srcOrd="0" destOrd="0" presId="urn:microsoft.com/office/officeart/2005/8/layout/vProcess5"/>
    <dgm:cxn modelId="{91A7D0A7-7106-4C2E-A0CC-20544AB019BD}" type="presParOf" srcId="{2D6C8EF7-B137-4873-93E2-90AF540000FD}" destId="{166EA9BC-3606-4F03-8946-1A11C1FD62A2}" srcOrd="1" destOrd="0" presId="urn:microsoft.com/office/officeart/2005/8/layout/vProcess5"/>
    <dgm:cxn modelId="{56D2A9F9-0032-46D9-877B-FFCB228DAE28}" type="presParOf" srcId="{2D6C8EF7-B137-4873-93E2-90AF540000FD}" destId="{5EB38B53-279B-4DE9-8B18-DCD1130CE977}" srcOrd="2" destOrd="0" presId="urn:microsoft.com/office/officeart/2005/8/layout/vProcess5"/>
    <dgm:cxn modelId="{3A477FFD-6F88-4ACF-AE79-F7D74FF2E87C}" type="presParOf" srcId="{2D6C8EF7-B137-4873-93E2-90AF540000FD}" destId="{7C23868C-09E7-4683-B559-3BC6AD7D2A64}" srcOrd="3" destOrd="0" presId="urn:microsoft.com/office/officeart/2005/8/layout/vProcess5"/>
    <dgm:cxn modelId="{F1EBDCB0-EEBD-4B4B-BF64-5602D782F9B3}" type="presParOf" srcId="{2D6C8EF7-B137-4873-93E2-90AF540000FD}" destId="{700B8B20-9E34-48DE-939A-38C30E1A4934}" srcOrd="4" destOrd="0" presId="urn:microsoft.com/office/officeart/2005/8/layout/vProcess5"/>
    <dgm:cxn modelId="{1E932276-2FB9-4279-80CF-A99D30A759EE}" type="presParOf" srcId="{2D6C8EF7-B137-4873-93E2-90AF540000FD}" destId="{1D6188BA-0236-4D81-A3D7-6A7645452E81}" srcOrd="5" destOrd="0" presId="urn:microsoft.com/office/officeart/2005/8/layout/vProcess5"/>
    <dgm:cxn modelId="{D0ADFE50-14E8-46C3-A363-5D9A5D2129EC}" type="presParOf" srcId="{2D6C8EF7-B137-4873-93E2-90AF540000FD}" destId="{3AF418F2-580C-49FA-BC1E-89FC79B93C2E}" srcOrd="6" destOrd="0" presId="urn:microsoft.com/office/officeart/2005/8/layout/vProcess5"/>
    <dgm:cxn modelId="{4B5A04A8-6AEF-49E8-B0F7-0DEE3EB2634E}" type="presParOf" srcId="{2D6C8EF7-B137-4873-93E2-90AF540000FD}" destId="{E2E0A378-6C90-48C1-BB74-94ECD265EA59}" srcOrd="7" destOrd="0" presId="urn:microsoft.com/office/officeart/2005/8/layout/vProcess5"/>
    <dgm:cxn modelId="{03FC3D6D-BB72-48E8-8C99-366B4B9050D5}" type="presParOf" srcId="{2D6C8EF7-B137-4873-93E2-90AF540000FD}" destId="{54AD2F01-54FF-4674-8040-665FB515C835}" srcOrd="8" destOrd="0" presId="urn:microsoft.com/office/officeart/2005/8/layout/vProcess5"/>
    <dgm:cxn modelId="{8328331D-8E39-445A-9FAB-60E44C13A6FB}" type="presParOf" srcId="{2D6C8EF7-B137-4873-93E2-90AF540000FD}" destId="{7266A067-C990-4E52-B530-1D78F0B05E1B}" srcOrd="9" destOrd="0" presId="urn:microsoft.com/office/officeart/2005/8/layout/vProcess5"/>
    <dgm:cxn modelId="{06E1E4D4-633B-4B4B-8B43-E85D6E74168A}" type="presParOf" srcId="{2D6C8EF7-B137-4873-93E2-90AF540000FD}" destId="{CBEDE211-882A-4027-BA3D-E54A38C4B1C5}" srcOrd="10" destOrd="0" presId="urn:microsoft.com/office/officeart/2005/8/layout/vProcess5"/>
    <dgm:cxn modelId="{AD886D04-06FB-4E6E-851A-E767540F2152}" type="presParOf" srcId="{2D6C8EF7-B137-4873-93E2-90AF540000FD}" destId="{65F07AEF-732E-453B-9526-3AE83F30F4C8}" srcOrd="11" destOrd="0" presId="urn:microsoft.com/office/officeart/2005/8/layout/vProcess5"/>
    <dgm:cxn modelId="{3C5AB8E6-04CC-4CFD-A58D-6149E901B6F2}" type="presParOf" srcId="{2D6C8EF7-B137-4873-93E2-90AF540000FD}" destId="{F64CED5A-B925-491C-9078-372E88158CF7}" srcOrd="12" destOrd="0" presId="urn:microsoft.com/office/officeart/2005/8/layout/vProcess5"/>
    <dgm:cxn modelId="{A54499FC-27CE-40C8-AA63-819F5CE6A175}" type="presParOf" srcId="{2D6C8EF7-B137-4873-93E2-90AF540000FD}" destId="{20DA5885-C9E5-4664-9034-3E61A406D141}" srcOrd="13" destOrd="0" presId="urn:microsoft.com/office/officeart/2005/8/layout/vProcess5"/>
    <dgm:cxn modelId="{BFCF92E9-10EB-4860-A8ED-7151D36520FE}" type="presParOf" srcId="{2D6C8EF7-B137-4873-93E2-90AF540000FD}" destId="{D602433F-6EBD-466C-A374-F3699EAEEB6E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BA4F4B2-32B3-49B4-BE06-0B7237776E31}" type="doc">
      <dgm:prSet loTypeId="urn:microsoft.com/office/officeart/2005/8/layout/cycle4" loCatId="matrix" qsTypeId="urn:microsoft.com/office/officeart/2005/8/quickstyle/3d1" qsCatId="3D" csTypeId="urn:microsoft.com/office/officeart/2005/8/colors/accent0_3" csCatId="mainScheme" phldr="1"/>
      <dgm:spPr/>
    </dgm:pt>
    <dgm:pt modelId="{68C14FB4-2DF1-4088-A87F-E83753C26F91}">
      <dgm:prSet phldrT="[Texto]" custT="1"/>
      <dgm:spPr/>
      <dgm:t>
        <a:bodyPr/>
        <a:lstStyle/>
        <a:p>
          <a:r>
            <a:rPr lang="pt-BR" sz="2000" dirty="0" smtClean="0"/>
            <a:t>MCTI / </a:t>
          </a:r>
          <a:br>
            <a:rPr lang="pt-BR" sz="2000" dirty="0" smtClean="0"/>
          </a:br>
          <a:r>
            <a:rPr lang="pt-BR" sz="2000" dirty="0" smtClean="0"/>
            <a:t>MCOM</a:t>
          </a:r>
          <a:endParaRPr lang="pt-BR" sz="2000" dirty="0"/>
        </a:p>
      </dgm:t>
    </dgm:pt>
    <dgm:pt modelId="{E6CD4E64-6ADE-42AF-BF53-F9AD2BE71F20}" type="parTrans" cxnId="{119FA4ED-6ABD-4576-BCA1-D0953FD07953}">
      <dgm:prSet/>
      <dgm:spPr/>
      <dgm:t>
        <a:bodyPr/>
        <a:lstStyle/>
        <a:p>
          <a:endParaRPr lang="pt-BR" sz="2000">
            <a:solidFill>
              <a:schemeClr val="bg1"/>
            </a:solidFill>
          </a:endParaRPr>
        </a:p>
      </dgm:t>
    </dgm:pt>
    <dgm:pt modelId="{BD9FBB12-5065-4CD6-BEAA-1819FFB7D5F4}" type="sibTrans" cxnId="{119FA4ED-6ABD-4576-BCA1-D0953FD07953}">
      <dgm:prSet/>
      <dgm:spPr/>
      <dgm:t>
        <a:bodyPr/>
        <a:lstStyle/>
        <a:p>
          <a:endParaRPr lang="pt-BR" sz="2000">
            <a:solidFill>
              <a:schemeClr val="bg1"/>
            </a:solidFill>
          </a:endParaRPr>
        </a:p>
      </dgm:t>
    </dgm:pt>
    <dgm:pt modelId="{95B86419-70C7-47A1-9D5B-05F8F17C56D7}">
      <dgm:prSet phldrT="[Texto]" custT="1"/>
      <dgm:spPr/>
      <dgm:t>
        <a:bodyPr/>
        <a:lstStyle/>
        <a:p>
          <a:r>
            <a:rPr lang="pt-BR" sz="2000" smtClean="0"/>
            <a:t>ANATEL</a:t>
          </a:r>
          <a:endParaRPr lang="pt-BR" sz="2000" dirty="0"/>
        </a:p>
      </dgm:t>
    </dgm:pt>
    <dgm:pt modelId="{851085C6-8E16-4094-9FE5-53382DC5CED7}" type="parTrans" cxnId="{EBD8B254-9DCA-4710-BAC3-A8C17FAF9F2F}">
      <dgm:prSet/>
      <dgm:spPr/>
      <dgm:t>
        <a:bodyPr/>
        <a:lstStyle/>
        <a:p>
          <a:endParaRPr lang="pt-BR" sz="2000">
            <a:solidFill>
              <a:schemeClr val="bg1"/>
            </a:solidFill>
          </a:endParaRPr>
        </a:p>
      </dgm:t>
    </dgm:pt>
    <dgm:pt modelId="{9E96109D-38FE-4672-8418-C8591E3CBAF1}" type="sibTrans" cxnId="{EBD8B254-9DCA-4710-BAC3-A8C17FAF9F2F}">
      <dgm:prSet/>
      <dgm:spPr/>
      <dgm:t>
        <a:bodyPr/>
        <a:lstStyle/>
        <a:p>
          <a:endParaRPr lang="pt-BR" sz="2000">
            <a:solidFill>
              <a:schemeClr val="bg1"/>
            </a:solidFill>
          </a:endParaRPr>
        </a:p>
      </dgm:t>
    </dgm:pt>
    <dgm:pt modelId="{8FE284E2-F949-4F95-AEE3-E6AF7177A63D}">
      <dgm:prSet phldrT="[Texto]" custT="1"/>
      <dgm:spPr/>
      <dgm:t>
        <a:bodyPr/>
        <a:lstStyle/>
        <a:p>
          <a:r>
            <a:rPr lang="pt-BR" sz="1800" dirty="0" smtClean="0"/>
            <a:t>   Ind. Oper. Telecom</a:t>
          </a:r>
        </a:p>
        <a:p>
          <a:r>
            <a:rPr lang="pt-BR" sz="1800" dirty="0" smtClean="0"/>
            <a:t>E</a:t>
          </a:r>
          <a:br>
            <a:rPr lang="pt-BR" sz="1800" dirty="0" smtClean="0"/>
          </a:br>
          <a:r>
            <a:rPr lang="pt-BR" sz="1800" dirty="0" smtClean="0">
              <a:solidFill>
                <a:srgbClr val="FFFF00"/>
              </a:solidFill>
            </a:rPr>
            <a:t>Instituições de </a:t>
          </a:r>
          <a:r>
            <a:rPr lang="pt-BR" sz="1800" dirty="0" err="1" smtClean="0">
              <a:solidFill>
                <a:srgbClr val="FFFF00"/>
              </a:solidFill>
            </a:rPr>
            <a:t>TICs</a:t>
          </a:r>
          <a:endParaRPr lang="pt-BR" sz="1800" dirty="0">
            <a:solidFill>
              <a:srgbClr val="FFFF00"/>
            </a:solidFill>
          </a:endParaRPr>
        </a:p>
      </dgm:t>
    </dgm:pt>
    <dgm:pt modelId="{771BC48E-E28B-46D6-A37F-B2D212EDF986}" type="parTrans" cxnId="{972A3ED5-C042-48D8-8614-57CBE65D957D}">
      <dgm:prSet/>
      <dgm:spPr/>
      <dgm:t>
        <a:bodyPr/>
        <a:lstStyle/>
        <a:p>
          <a:endParaRPr lang="pt-BR" sz="2000">
            <a:solidFill>
              <a:schemeClr val="bg1"/>
            </a:solidFill>
          </a:endParaRPr>
        </a:p>
      </dgm:t>
    </dgm:pt>
    <dgm:pt modelId="{84412A51-9BEB-479F-BEDE-DBEFD8A4955E}" type="sibTrans" cxnId="{972A3ED5-C042-48D8-8614-57CBE65D957D}">
      <dgm:prSet/>
      <dgm:spPr/>
      <dgm:t>
        <a:bodyPr/>
        <a:lstStyle/>
        <a:p>
          <a:endParaRPr lang="pt-BR" sz="2000">
            <a:solidFill>
              <a:schemeClr val="bg1"/>
            </a:solidFill>
          </a:endParaRPr>
        </a:p>
      </dgm:t>
    </dgm:pt>
    <dgm:pt modelId="{6F704159-FC73-4873-B8C2-191103F016DE}">
      <dgm:prSet phldrT="[Texto]" custT="1"/>
      <dgm:spPr/>
      <dgm:t>
        <a:bodyPr/>
        <a:lstStyle/>
        <a:p>
          <a:r>
            <a:rPr lang="pt-BR" sz="2000" dirty="0" smtClean="0"/>
            <a:t>Sociedade Civil</a:t>
          </a:r>
          <a:endParaRPr lang="pt-BR" sz="2000" dirty="0"/>
        </a:p>
      </dgm:t>
    </dgm:pt>
    <dgm:pt modelId="{FCE36EC0-4329-4CC4-A4E3-033E357FAEE7}" type="parTrans" cxnId="{6BD8DC99-173D-4DEC-957F-4203B3C65C78}">
      <dgm:prSet/>
      <dgm:spPr/>
      <dgm:t>
        <a:bodyPr/>
        <a:lstStyle/>
        <a:p>
          <a:endParaRPr lang="pt-BR" sz="2000">
            <a:solidFill>
              <a:schemeClr val="bg1"/>
            </a:solidFill>
          </a:endParaRPr>
        </a:p>
      </dgm:t>
    </dgm:pt>
    <dgm:pt modelId="{89322DEE-39C7-4B00-8154-9062CD59BFD0}" type="sibTrans" cxnId="{6BD8DC99-173D-4DEC-957F-4203B3C65C78}">
      <dgm:prSet/>
      <dgm:spPr/>
      <dgm:t>
        <a:bodyPr/>
        <a:lstStyle/>
        <a:p>
          <a:endParaRPr lang="pt-BR" sz="2000">
            <a:solidFill>
              <a:schemeClr val="bg1"/>
            </a:solidFill>
          </a:endParaRPr>
        </a:p>
      </dgm:t>
    </dgm:pt>
    <dgm:pt modelId="{6FE541C1-167B-4423-8D30-8B500995B9D3}" type="pres">
      <dgm:prSet presAssocID="{1BA4F4B2-32B3-49B4-BE06-0B7237776E3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8B36A351-14DB-496E-AF4B-051F8439E496}" type="pres">
      <dgm:prSet presAssocID="{1BA4F4B2-32B3-49B4-BE06-0B7237776E31}" presName="children" presStyleCnt="0"/>
      <dgm:spPr/>
    </dgm:pt>
    <dgm:pt modelId="{05705701-09C5-46A5-A2A4-C9C917B3375E}" type="pres">
      <dgm:prSet presAssocID="{1BA4F4B2-32B3-49B4-BE06-0B7237776E31}" presName="childPlaceholder" presStyleCnt="0"/>
      <dgm:spPr/>
    </dgm:pt>
    <dgm:pt modelId="{B105042F-8294-4AA7-AF82-EFC7E9BB7837}" type="pres">
      <dgm:prSet presAssocID="{1BA4F4B2-32B3-49B4-BE06-0B7237776E31}" presName="circle" presStyleCnt="0"/>
      <dgm:spPr/>
    </dgm:pt>
    <dgm:pt modelId="{C7D80BB5-F9A3-441C-BEA9-EDBE2A72E94E}" type="pres">
      <dgm:prSet presAssocID="{1BA4F4B2-32B3-49B4-BE06-0B7237776E31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C604BC-63C1-4028-9035-5AF3A269A1FA}" type="pres">
      <dgm:prSet presAssocID="{1BA4F4B2-32B3-49B4-BE06-0B7237776E31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F3F2FFA-EC56-44EC-B599-3F5D19C0186A}" type="pres">
      <dgm:prSet presAssocID="{1BA4F4B2-32B3-49B4-BE06-0B7237776E31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F2C1F47-0814-4753-BF6D-71618FE2079B}" type="pres">
      <dgm:prSet presAssocID="{1BA4F4B2-32B3-49B4-BE06-0B7237776E31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79942EE-62F7-4568-AD18-80F0A762AFAB}" type="pres">
      <dgm:prSet presAssocID="{1BA4F4B2-32B3-49B4-BE06-0B7237776E31}" presName="quadrantPlaceholder" presStyleCnt="0"/>
      <dgm:spPr/>
    </dgm:pt>
    <dgm:pt modelId="{FAD327C9-C38F-4157-A790-D310D5D7B432}" type="pres">
      <dgm:prSet presAssocID="{1BA4F4B2-32B3-49B4-BE06-0B7237776E31}" presName="center1" presStyleLbl="fgShp" presStyleIdx="0" presStyleCnt="2"/>
      <dgm:spPr>
        <a:solidFill>
          <a:srgbClr val="FFFF00"/>
        </a:solidFill>
      </dgm:spPr>
    </dgm:pt>
    <dgm:pt modelId="{800651A2-B015-4B44-BDB8-84405750899A}" type="pres">
      <dgm:prSet presAssocID="{1BA4F4B2-32B3-49B4-BE06-0B7237776E31}" presName="center2" presStyleLbl="fgShp" presStyleIdx="1" presStyleCnt="2"/>
      <dgm:spPr>
        <a:solidFill>
          <a:srgbClr val="FFFF00"/>
        </a:solidFill>
      </dgm:spPr>
    </dgm:pt>
  </dgm:ptLst>
  <dgm:cxnLst>
    <dgm:cxn modelId="{A40FCE4A-846C-4BEB-ACED-ED1F72CC1899}" type="presOf" srcId="{95B86419-70C7-47A1-9D5B-05F8F17C56D7}" destId="{F7C604BC-63C1-4028-9035-5AF3A269A1FA}" srcOrd="0" destOrd="0" presId="urn:microsoft.com/office/officeart/2005/8/layout/cycle4"/>
    <dgm:cxn modelId="{EBD8B254-9DCA-4710-BAC3-A8C17FAF9F2F}" srcId="{1BA4F4B2-32B3-49B4-BE06-0B7237776E31}" destId="{95B86419-70C7-47A1-9D5B-05F8F17C56D7}" srcOrd="1" destOrd="0" parTransId="{851085C6-8E16-4094-9FE5-53382DC5CED7}" sibTransId="{9E96109D-38FE-4672-8418-C8591E3CBAF1}"/>
    <dgm:cxn modelId="{E7DB51C4-D80E-4258-8403-C7105FADD359}" type="presOf" srcId="{6F704159-FC73-4873-B8C2-191103F016DE}" destId="{AF2C1F47-0814-4753-BF6D-71618FE2079B}" srcOrd="0" destOrd="0" presId="urn:microsoft.com/office/officeart/2005/8/layout/cycle4"/>
    <dgm:cxn modelId="{8975ACD8-9A76-4C8F-AFD0-3EBA6A23EB72}" type="presOf" srcId="{8FE284E2-F949-4F95-AEE3-E6AF7177A63D}" destId="{7F3F2FFA-EC56-44EC-B599-3F5D19C0186A}" srcOrd="0" destOrd="0" presId="urn:microsoft.com/office/officeart/2005/8/layout/cycle4"/>
    <dgm:cxn modelId="{6BD8DC99-173D-4DEC-957F-4203B3C65C78}" srcId="{1BA4F4B2-32B3-49B4-BE06-0B7237776E31}" destId="{6F704159-FC73-4873-B8C2-191103F016DE}" srcOrd="3" destOrd="0" parTransId="{FCE36EC0-4329-4CC4-A4E3-033E357FAEE7}" sibTransId="{89322DEE-39C7-4B00-8154-9062CD59BFD0}"/>
    <dgm:cxn modelId="{119FA4ED-6ABD-4576-BCA1-D0953FD07953}" srcId="{1BA4F4B2-32B3-49B4-BE06-0B7237776E31}" destId="{68C14FB4-2DF1-4088-A87F-E83753C26F91}" srcOrd="0" destOrd="0" parTransId="{E6CD4E64-6ADE-42AF-BF53-F9AD2BE71F20}" sibTransId="{BD9FBB12-5065-4CD6-BEAA-1819FFB7D5F4}"/>
    <dgm:cxn modelId="{2FCC8B03-51B2-44CE-A67A-22F709019EC6}" type="presOf" srcId="{1BA4F4B2-32B3-49B4-BE06-0B7237776E31}" destId="{6FE541C1-167B-4423-8D30-8B500995B9D3}" srcOrd="0" destOrd="0" presId="urn:microsoft.com/office/officeart/2005/8/layout/cycle4"/>
    <dgm:cxn modelId="{972A3ED5-C042-48D8-8614-57CBE65D957D}" srcId="{1BA4F4B2-32B3-49B4-BE06-0B7237776E31}" destId="{8FE284E2-F949-4F95-AEE3-E6AF7177A63D}" srcOrd="2" destOrd="0" parTransId="{771BC48E-E28B-46D6-A37F-B2D212EDF986}" sibTransId="{84412A51-9BEB-479F-BEDE-DBEFD8A4955E}"/>
    <dgm:cxn modelId="{9BC14EBD-D60E-4639-AE8F-CE9EF4D08759}" type="presOf" srcId="{68C14FB4-2DF1-4088-A87F-E83753C26F91}" destId="{C7D80BB5-F9A3-441C-BEA9-EDBE2A72E94E}" srcOrd="0" destOrd="0" presId="urn:microsoft.com/office/officeart/2005/8/layout/cycle4"/>
    <dgm:cxn modelId="{FB82BF9E-8D96-4F7F-BC60-30AD234DB82B}" type="presParOf" srcId="{6FE541C1-167B-4423-8D30-8B500995B9D3}" destId="{8B36A351-14DB-496E-AF4B-051F8439E496}" srcOrd="0" destOrd="0" presId="urn:microsoft.com/office/officeart/2005/8/layout/cycle4"/>
    <dgm:cxn modelId="{75D5E758-E7F6-4265-8754-62429A8C78DD}" type="presParOf" srcId="{8B36A351-14DB-496E-AF4B-051F8439E496}" destId="{05705701-09C5-46A5-A2A4-C9C917B3375E}" srcOrd="0" destOrd="0" presId="urn:microsoft.com/office/officeart/2005/8/layout/cycle4"/>
    <dgm:cxn modelId="{533079C7-972C-45D0-AA7E-3C775359725B}" type="presParOf" srcId="{6FE541C1-167B-4423-8D30-8B500995B9D3}" destId="{B105042F-8294-4AA7-AF82-EFC7E9BB7837}" srcOrd="1" destOrd="0" presId="urn:microsoft.com/office/officeart/2005/8/layout/cycle4"/>
    <dgm:cxn modelId="{699FFD89-F888-4B1F-B74D-CA0A5E4279A9}" type="presParOf" srcId="{B105042F-8294-4AA7-AF82-EFC7E9BB7837}" destId="{C7D80BB5-F9A3-441C-BEA9-EDBE2A72E94E}" srcOrd="0" destOrd="0" presId="urn:microsoft.com/office/officeart/2005/8/layout/cycle4"/>
    <dgm:cxn modelId="{7DCA0531-4C27-4A60-95CE-4F80BD2E165E}" type="presParOf" srcId="{B105042F-8294-4AA7-AF82-EFC7E9BB7837}" destId="{F7C604BC-63C1-4028-9035-5AF3A269A1FA}" srcOrd="1" destOrd="0" presId="urn:microsoft.com/office/officeart/2005/8/layout/cycle4"/>
    <dgm:cxn modelId="{46F638AC-C9C8-4C14-834B-BFFE4F10D3D4}" type="presParOf" srcId="{B105042F-8294-4AA7-AF82-EFC7E9BB7837}" destId="{7F3F2FFA-EC56-44EC-B599-3F5D19C0186A}" srcOrd="2" destOrd="0" presId="urn:microsoft.com/office/officeart/2005/8/layout/cycle4"/>
    <dgm:cxn modelId="{F58443F3-C577-431B-94CE-D7DC4E3D3B58}" type="presParOf" srcId="{B105042F-8294-4AA7-AF82-EFC7E9BB7837}" destId="{AF2C1F47-0814-4753-BF6D-71618FE2079B}" srcOrd="3" destOrd="0" presId="urn:microsoft.com/office/officeart/2005/8/layout/cycle4"/>
    <dgm:cxn modelId="{86414AA1-86DD-403C-BD58-6389C0197ACF}" type="presParOf" srcId="{B105042F-8294-4AA7-AF82-EFC7E9BB7837}" destId="{179942EE-62F7-4568-AD18-80F0A762AFAB}" srcOrd="4" destOrd="0" presId="urn:microsoft.com/office/officeart/2005/8/layout/cycle4"/>
    <dgm:cxn modelId="{F056ABEB-F515-49E5-BA9F-1AAB5B2521E2}" type="presParOf" srcId="{6FE541C1-167B-4423-8D30-8B500995B9D3}" destId="{FAD327C9-C38F-4157-A790-D310D5D7B432}" srcOrd="2" destOrd="0" presId="urn:microsoft.com/office/officeart/2005/8/layout/cycle4"/>
    <dgm:cxn modelId="{BEA338FF-9C26-4619-911F-C89721ACF5C7}" type="presParOf" srcId="{6FE541C1-167B-4423-8D30-8B500995B9D3}" destId="{800651A2-B015-4B44-BDB8-84405750899A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2FB0BE8-A7F2-4512-8EC5-473103DA8D95}" type="doc">
      <dgm:prSet loTypeId="urn:microsoft.com/office/officeart/2005/8/layout/cycle8" loCatId="cycle" qsTypeId="urn:microsoft.com/office/officeart/2005/8/quickstyle/3d4" qsCatId="3D" csTypeId="urn:microsoft.com/office/officeart/2005/8/colors/colorful3" csCatId="colorful" phldr="1"/>
      <dgm:spPr/>
    </dgm:pt>
    <dgm:pt modelId="{DCBD9BBC-A832-4C63-BD9C-415AB7460EEB}">
      <dgm:prSet phldrT="[Texto]"/>
      <dgm:spPr/>
      <dgm:t>
        <a:bodyPr/>
        <a:lstStyle/>
        <a:p>
          <a:r>
            <a:rPr lang="pt-BR" smtClean="0"/>
            <a:t>EB5G</a:t>
          </a:r>
          <a:endParaRPr lang="pt-BR" dirty="0"/>
        </a:p>
      </dgm:t>
    </dgm:pt>
    <dgm:pt modelId="{8BDF085C-0863-4947-84FB-5BC2C4B8653C}" type="parTrans" cxnId="{3838310D-1233-4812-AFDA-8DBD6649085B}">
      <dgm:prSet/>
      <dgm:spPr/>
      <dgm:t>
        <a:bodyPr/>
        <a:lstStyle/>
        <a:p>
          <a:endParaRPr lang="pt-BR"/>
        </a:p>
      </dgm:t>
    </dgm:pt>
    <dgm:pt modelId="{2EC43BD3-AA18-455E-AB89-899BD0038404}" type="sibTrans" cxnId="{3838310D-1233-4812-AFDA-8DBD6649085B}">
      <dgm:prSet/>
      <dgm:spPr/>
      <dgm:t>
        <a:bodyPr/>
        <a:lstStyle/>
        <a:p>
          <a:endParaRPr lang="pt-BR"/>
        </a:p>
      </dgm:t>
    </dgm:pt>
    <dgm:pt modelId="{7BF7E07D-8519-4B3F-A15D-23859A708DCD}">
      <dgm:prSet phldrT="[Texto]"/>
      <dgm:spPr/>
      <dgm:t>
        <a:bodyPr/>
        <a:lstStyle/>
        <a:p>
          <a:r>
            <a:rPr lang="pt-BR" dirty="0" smtClean="0"/>
            <a:t>PD&amp;I</a:t>
          </a:r>
          <a:endParaRPr lang="pt-BR" dirty="0"/>
        </a:p>
      </dgm:t>
    </dgm:pt>
    <dgm:pt modelId="{A7315642-75E7-47F8-AEE2-AC3DB3D1404D}" type="parTrans" cxnId="{F9E199E3-7BDA-4BCF-864D-73D5E495B03A}">
      <dgm:prSet/>
      <dgm:spPr/>
      <dgm:t>
        <a:bodyPr/>
        <a:lstStyle/>
        <a:p>
          <a:endParaRPr lang="pt-BR"/>
        </a:p>
      </dgm:t>
    </dgm:pt>
    <dgm:pt modelId="{5AA4873B-0F19-4DD2-98B8-3EA0B9D8230E}" type="sibTrans" cxnId="{F9E199E3-7BDA-4BCF-864D-73D5E495B03A}">
      <dgm:prSet/>
      <dgm:spPr/>
      <dgm:t>
        <a:bodyPr/>
        <a:lstStyle/>
        <a:p>
          <a:endParaRPr lang="pt-BR"/>
        </a:p>
      </dgm:t>
    </dgm:pt>
    <dgm:pt modelId="{9D6D7E80-1B97-4F18-BABD-6BB857DCC560}">
      <dgm:prSet phldrT="[Texto]" custT="1"/>
      <dgm:spPr/>
      <dgm:t>
        <a:bodyPr/>
        <a:lstStyle/>
        <a:p>
          <a:r>
            <a:rPr lang="pt-BR" sz="2400" b="1" dirty="0" smtClean="0"/>
            <a:t>E-Digital</a:t>
          </a:r>
          <a:endParaRPr lang="pt-BR" sz="2400" b="1" dirty="0"/>
        </a:p>
      </dgm:t>
    </dgm:pt>
    <dgm:pt modelId="{AD1FF33A-4861-40D6-A63C-545D10A18FD1}" type="parTrans" cxnId="{2E3DB95B-8CC1-4876-90C0-0CDD7FF441B5}">
      <dgm:prSet/>
      <dgm:spPr/>
      <dgm:t>
        <a:bodyPr/>
        <a:lstStyle/>
        <a:p>
          <a:endParaRPr lang="pt-BR"/>
        </a:p>
      </dgm:t>
    </dgm:pt>
    <dgm:pt modelId="{390757D2-C33F-4766-BE51-E6E950AD6394}" type="sibTrans" cxnId="{2E3DB95B-8CC1-4876-90C0-0CDD7FF441B5}">
      <dgm:prSet/>
      <dgm:spPr/>
      <dgm:t>
        <a:bodyPr/>
        <a:lstStyle/>
        <a:p>
          <a:endParaRPr lang="pt-BR"/>
        </a:p>
      </dgm:t>
    </dgm:pt>
    <dgm:pt modelId="{B55A8BCC-E228-42B9-92A1-4CDFE8DDAFA5}" type="pres">
      <dgm:prSet presAssocID="{02FB0BE8-A7F2-4512-8EC5-473103DA8D95}" presName="compositeShape" presStyleCnt="0">
        <dgm:presLayoutVars>
          <dgm:chMax val="7"/>
          <dgm:dir/>
          <dgm:resizeHandles val="exact"/>
        </dgm:presLayoutVars>
      </dgm:prSet>
      <dgm:spPr/>
    </dgm:pt>
    <dgm:pt modelId="{5CE51E5C-0645-453C-BBFD-2A85F6A8B159}" type="pres">
      <dgm:prSet presAssocID="{02FB0BE8-A7F2-4512-8EC5-473103DA8D95}" presName="wedge1" presStyleLbl="node1" presStyleIdx="0" presStyleCnt="3"/>
      <dgm:spPr/>
      <dgm:t>
        <a:bodyPr/>
        <a:lstStyle/>
        <a:p>
          <a:endParaRPr lang="pt-BR"/>
        </a:p>
      </dgm:t>
    </dgm:pt>
    <dgm:pt modelId="{9FA74401-43F2-42F6-AC57-278CDDC5847F}" type="pres">
      <dgm:prSet presAssocID="{02FB0BE8-A7F2-4512-8EC5-473103DA8D95}" presName="dummy1a" presStyleCnt="0"/>
      <dgm:spPr/>
    </dgm:pt>
    <dgm:pt modelId="{8CFFC25A-0637-42E8-9A25-A6B62BF3B58F}" type="pres">
      <dgm:prSet presAssocID="{02FB0BE8-A7F2-4512-8EC5-473103DA8D95}" presName="dummy1b" presStyleCnt="0"/>
      <dgm:spPr/>
    </dgm:pt>
    <dgm:pt modelId="{74ECC3C1-CEE9-43C7-9FB7-607C5D882B7F}" type="pres">
      <dgm:prSet presAssocID="{02FB0BE8-A7F2-4512-8EC5-473103DA8D95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0AC0CC0-951B-4B5E-8244-5B7336DBD05D}" type="pres">
      <dgm:prSet presAssocID="{02FB0BE8-A7F2-4512-8EC5-473103DA8D95}" presName="wedge2" presStyleLbl="node1" presStyleIdx="1" presStyleCnt="3"/>
      <dgm:spPr/>
      <dgm:t>
        <a:bodyPr/>
        <a:lstStyle/>
        <a:p>
          <a:endParaRPr lang="pt-BR"/>
        </a:p>
      </dgm:t>
    </dgm:pt>
    <dgm:pt modelId="{5E049697-4B98-4BCA-8A8C-82117670CDC2}" type="pres">
      <dgm:prSet presAssocID="{02FB0BE8-A7F2-4512-8EC5-473103DA8D95}" presName="dummy2a" presStyleCnt="0"/>
      <dgm:spPr/>
    </dgm:pt>
    <dgm:pt modelId="{21A25598-DB53-4C2C-AA0A-7877BFAE0B27}" type="pres">
      <dgm:prSet presAssocID="{02FB0BE8-A7F2-4512-8EC5-473103DA8D95}" presName="dummy2b" presStyleCnt="0"/>
      <dgm:spPr/>
    </dgm:pt>
    <dgm:pt modelId="{15BAE023-F5B9-4380-989D-908EBE1E5360}" type="pres">
      <dgm:prSet presAssocID="{02FB0BE8-A7F2-4512-8EC5-473103DA8D95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F30E1AC-CFDE-424F-B452-44AFF0B486F0}" type="pres">
      <dgm:prSet presAssocID="{02FB0BE8-A7F2-4512-8EC5-473103DA8D95}" presName="wedge3" presStyleLbl="node1" presStyleIdx="2" presStyleCnt="3"/>
      <dgm:spPr/>
      <dgm:t>
        <a:bodyPr/>
        <a:lstStyle/>
        <a:p>
          <a:endParaRPr lang="pt-BR"/>
        </a:p>
      </dgm:t>
    </dgm:pt>
    <dgm:pt modelId="{0528A6BA-5FDC-4E9E-B41F-DA38A9B1059C}" type="pres">
      <dgm:prSet presAssocID="{02FB0BE8-A7F2-4512-8EC5-473103DA8D95}" presName="dummy3a" presStyleCnt="0"/>
      <dgm:spPr/>
    </dgm:pt>
    <dgm:pt modelId="{B4D51075-6C6B-43B9-AD1D-CB9CB4BB6A69}" type="pres">
      <dgm:prSet presAssocID="{02FB0BE8-A7F2-4512-8EC5-473103DA8D95}" presName="dummy3b" presStyleCnt="0"/>
      <dgm:spPr/>
    </dgm:pt>
    <dgm:pt modelId="{B4820E50-E71F-4D52-8231-4E736BE56F47}" type="pres">
      <dgm:prSet presAssocID="{02FB0BE8-A7F2-4512-8EC5-473103DA8D95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1BAABC4-04CC-47FC-813A-421A4F7CB61A}" type="pres">
      <dgm:prSet presAssocID="{2EC43BD3-AA18-455E-AB89-899BD0038404}" presName="arrowWedge1" presStyleLbl="fgSibTrans2D1" presStyleIdx="0" presStyleCnt="3"/>
      <dgm:spPr/>
    </dgm:pt>
    <dgm:pt modelId="{1D07F27C-1F37-443C-A437-E280665C9EF6}" type="pres">
      <dgm:prSet presAssocID="{5AA4873B-0F19-4DD2-98B8-3EA0B9D8230E}" presName="arrowWedge2" presStyleLbl="fgSibTrans2D1" presStyleIdx="1" presStyleCnt="3"/>
      <dgm:spPr/>
    </dgm:pt>
    <dgm:pt modelId="{FEEB726B-6EEE-4DF2-AD8E-F7386C307789}" type="pres">
      <dgm:prSet presAssocID="{390757D2-C33F-4766-BE51-E6E950AD6394}" presName="arrowWedge3" presStyleLbl="fgSibTrans2D1" presStyleIdx="2" presStyleCnt="3"/>
      <dgm:spPr/>
    </dgm:pt>
  </dgm:ptLst>
  <dgm:cxnLst>
    <dgm:cxn modelId="{3B17D2D4-8FD1-40BD-AF0E-255FD7BCC7A8}" type="presOf" srcId="{7BF7E07D-8519-4B3F-A15D-23859A708DCD}" destId="{15BAE023-F5B9-4380-989D-908EBE1E5360}" srcOrd="1" destOrd="0" presId="urn:microsoft.com/office/officeart/2005/8/layout/cycle8"/>
    <dgm:cxn modelId="{9AB69EEF-F1ED-49EA-B5CB-02D3485B48B5}" type="presOf" srcId="{7BF7E07D-8519-4B3F-A15D-23859A708DCD}" destId="{C0AC0CC0-951B-4B5E-8244-5B7336DBD05D}" srcOrd="0" destOrd="0" presId="urn:microsoft.com/office/officeart/2005/8/layout/cycle8"/>
    <dgm:cxn modelId="{2E3DB95B-8CC1-4876-90C0-0CDD7FF441B5}" srcId="{02FB0BE8-A7F2-4512-8EC5-473103DA8D95}" destId="{9D6D7E80-1B97-4F18-BABD-6BB857DCC560}" srcOrd="2" destOrd="0" parTransId="{AD1FF33A-4861-40D6-A63C-545D10A18FD1}" sibTransId="{390757D2-C33F-4766-BE51-E6E950AD6394}"/>
    <dgm:cxn modelId="{0B6C7ABA-35F6-48CE-AD1D-41250E331622}" type="presOf" srcId="{DCBD9BBC-A832-4C63-BD9C-415AB7460EEB}" destId="{5CE51E5C-0645-453C-BBFD-2A85F6A8B159}" srcOrd="0" destOrd="0" presId="urn:microsoft.com/office/officeart/2005/8/layout/cycle8"/>
    <dgm:cxn modelId="{23B46430-7216-47E2-B5B1-C52B3084A75B}" type="presOf" srcId="{9D6D7E80-1B97-4F18-BABD-6BB857DCC560}" destId="{FF30E1AC-CFDE-424F-B452-44AFF0B486F0}" srcOrd="0" destOrd="0" presId="urn:microsoft.com/office/officeart/2005/8/layout/cycle8"/>
    <dgm:cxn modelId="{F9F30D84-845C-4794-9C5A-2A44658C23C2}" type="presOf" srcId="{9D6D7E80-1B97-4F18-BABD-6BB857DCC560}" destId="{B4820E50-E71F-4D52-8231-4E736BE56F47}" srcOrd="1" destOrd="0" presId="urn:microsoft.com/office/officeart/2005/8/layout/cycle8"/>
    <dgm:cxn modelId="{FF19DA81-C310-4DE4-BD31-582ACF347BEA}" type="presOf" srcId="{02FB0BE8-A7F2-4512-8EC5-473103DA8D95}" destId="{B55A8BCC-E228-42B9-92A1-4CDFE8DDAFA5}" srcOrd="0" destOrd="0" presId="urn:microsoft.com/office/officeart/2005/8/layout/cycle8"/>
    <dgm:cxn modelId="{F9E199E3-7BDA-4BCF-864D-73D5E495B03A}" srcId="{02FB0BE8-A7F2-4512-8EC5-473103DA8D95}" destId="{7BF7E07D-8519-4B3F-A15D-23859A708DCD}" srcOrd="1" destOrd="0" parTransId="{A7315642-75E7-47F8-AEE2-AC3DB3D1404D}" sibTransId="{5AA4873B-0F19-4DD2-98B8-3EA0B9D8230E}"/>
    <dgm:cxn modelId="{ECE883E0-8231-4C35-92E3-586077DD66D1}" type="presOf" srcId="{DCBD9BBC-A832-4C63-BD9C-415AB7460EEB}" destId="{74ECC3C1-CEE9-43C7-9FB7-607C5D882B7F}" srcOrd="1" destOrd="0" presId="urn:microsoft.com/office/officeart/2005/8/layout/cycle8"/>
    <dgm:cxn modelId="{3838310D-1233-4812-AFDA-8DBD6649085B}" srcId="{02FB0BE8-A7F2-4512-8EC5-473103DA8D95}" destId="{DCBD9BBC-A832-4C63-BD9C-415AB7460EEB}" srcOrd="0" destOrd="0" parTransId="{8BDF085C-0863-4947-84FB-5BC2C4B8653C}" sibTransId="{2EC43BD3-AA18-455E-AB89-899BD0038404}"/>
    <dgm:cxn modelId="{B5988896-C73D-44A0-BAC0-850A169B3E0D}" type="presParOf" srcId="{B55A8BCC-E228-42B9-92A1-4CDFE8DDAFA5}" destId="{5CE51E5C-0645-453C-BBFD-2A85F6A8B159}" srcOrd="0" destOrd="0" presId="urn:microsoft.com/office/officeart/2005/8/layout/cycle8"/>
    <dgm:cxn modelId="{A48C1A90-473F-4919-A42F-982183238BD6}" type="presParOf" srcId="{B55A8BCC-E228-42B9-92A1-4CDFE8DDAFA5}" destId="{9FA74401-43F2-42F6-AC57-278CDDC5847F}" srcOrd="1" destOrd="0" presId="urn:microsoft.com/office/officeart/2005/8/layout/cycle8"/>
    <dgm:cxn modelId="{D97CF601-425E-49FA-B104-BA46344DB54F}" type="presParOf" srcId="{B55A8BCC-E228-42B9-92A1-4CDFE8DDAFA5}" destId="{8CFFC25A-0637-42E8-9A25-A6B62BF3B58F}" srcOrd="2" destOrd="0" presId="urn:microsoft.com/office/officeart/2005/8/layout/cycle8"/>
    <dgm:cxn modelId="{7412EB8D-BA55-4886-B853-0178CD92AD6F}" type="presParOf" srcId="{B55A8BCC-E228-42B9-92A1-4CDFE8DDAFA5}" destId="{74ECC3C1-CEE9-43C7-9FB7-607C5D882B7F}" srcOrd="3" destOrd="0" presId="urn:microsoft.com/office/officeart/2005/8/layout/cycle8"/>
    <dgm:cxn modelId="{EA22FE78-87F7-45E3-B838-5AD8C61F3858}" type="presParOf" srcId="{B55A8BCC-E228-42B9-92A1-4CDFE8DDAFA5}" destId="{C0AC0CC0-951B-4B5E-8244-5B7336DBD05D}" srcOrd="4" destOrd="0" presId="urn:microsoft.com/office/officeart/2005/8/layout/cycle8"/>
    <dgm:cxn modelId="{5FA2ECC4-BDB3-4D77-8B98-83A5162CE1E7}" type="presParOf" srcId="{B55A8BCC-E228-42B9-92A1-4CDFE8DDAFA5}" destId="{5E049697-4B98-4BCA-8A8C-82117670CDC2}" srcOrd="5" destOrd="0" presId="urn:microsoft.com/office/officeart/2005/8/layout/cycle8"/>
    <dgm:cxn modelId="{23944D70-A63B-4625-8B3F-4098D5BCB5F3}" type="presParOf" srcId="{B55A8BCC-E228-42B9-92A1-4CDFE8DDAFA5}" destId="{21A25598-DB53-4C2C-AA0A-7877BFAE0B27}" srcOrd="6" destOrd="0" presId="urn:microsoft.com/office/officeart/2005/8/layout/cycle8"/>
    <dgm:cxn modelId="{3523F425-2186-4629-9F5D-AC281DD16E20}" type="presParOf" srcId="{B55A8BCC-E228-42B9-92A1-4CDFE8DDAFA5}" destId="{15BAE023-F5B9-4380-989D-908EBE1E5360}" srcOrd="7" destOrd="0" presId="urn:microsoft.com/office/officeart/2005/8/layout/cycle8"/>
    <dgm:cxn modelId="{D58537D5-EA71-479C-A620-87D5EDA1CD75}" type="presParOf" srcId="{B55A8BCC-E228-42B9-92A1-4CDFE8DDAFA5}" destId="{FF30E1AC-CFDE-424F-B452-44AFF0B486F0}" srcOrd="8" destOrd="0" presId="urn:microsoft.com/office/officeart/2005/8/layout/cycle8"/>
    <dgm:cxn modelId="{D4578E3E-B19E-4E0A-B789-8BAD64AA83B6}" type="presParOf" srcId="{B55A8BCC-E228-42B9-92A1-4CDFE8DDAFA5}" destId="{0528A6BA-5FDC-4E9E-B41F-DA38A9B1059C}" srcOrd="9" destOrd="0" presId="urn:microsoft.com/office/officeart/2005/8/layout/cycle8"/>
    <dgm:cxn modelId="{B7565DA2-8495-46AD-894B-79E90C52D6F4}" type="presParOf" srcId="{B55A8BCC-E228-42B9-92A1-4CDFE8DDAFA5}" destId="{B4D51075-6C6B-43B9-AD1D-CB9CB4BB6A69}" srcOrd="10" destOrd="0" presId="urn:microsoft.com/office/officeart/2005/8/layout/cycle8"/>
    <dgm:cxn modelId="{8AC67CCA-A343-4A0C-ACB6-3BAD70AEF3C8}" type="presParOf" srcId="{B55A8BCC-E228-42B9-92A1-4CDFE8DDAFA5}" destId="{B4820E50-E71F-4D52-8231-4E736BE56F47}" srcOrd="11" destOrd="0" presId="urn:microsoft.com/office/officeart/2005/8/layout/cycle8"/>
    <dgm:cxn modelId="{43892F23-DC53-4A24-93E1-89A09FCAEFDE}" type="presParOf" srcId="{B55A8BCC-E228-42B9-92A1-4CDFE8DDAFA5}" destId="{F1BAABC4-04CC-47FC-813A-421A4F7CB61A}" srcOrd="12" destOrd="0" presId="urn:microsoft.com/office/officeart/2005/8/layout/cycle8"/>
    <dgm:cxn modelId="{58CD07EA-89D9-444E-AF64-5164B4A44897}" type="presParOf" srcId="{B55A8BCC-E228-42B9-92A1-4CDFE8DDAFA5}" destId="{1D07F27C-1F37-443C-A437-E280665C9EF6}" srcOrd="13" destOrd="0" presId="urn:microsoft.com/office/officeart/2005/8/layout/cycle8"/>
    <dgm:cxn modelId="{DE04FC66-CE29-436F-ABE7-667C4B6C7017}" type="presParOf" srcId="{B55A8BCC-E228-42B9-92A1-4CDFE8DDAFA5}" destId="{FEEB726B-6EEE-4DF2-AD8E-F7386C307789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97FA1B4-C187-4DD3-8443-6839AADD513A}" type="doc">
      <dgm:prSet loTypeId="urn:microsoft.com/office/officeart/2005/8/layout/hList3" loCatId="list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pt-BR"/>
        </a:p>
      </dgm:t>
    </dgm:pt>
    <dgm:pt modelId="{5B901619-AD14-416E-9F71-8873417DA2D9}">
      <dgm:prSet phldrT="[Texto]" custT="1"/>
      <dgm:spPr/>
      <dgm:t>
        <a:bodyPr/>
        <a:lstStyle/>
        <a:p>
          <a:pPr algn="just"/>
          <a:r>
            <a:rPr lang="pt-PT" sz="1800" dirty="0" smtClean="0"/>
            <a:t>É um documento de visão sobre a tecnologia 5G, que se estrutura em cinco eixos temáticos de atuação, que envolvem aspectos relacionados com a implementação de infraestruturas de redes de nova geração e o desenvolvimento do ecossistema 5G.</a:t>
          </a:r>
          <a:endParaRPr lang="pt-BR" sz="1800" dirty="0"/>
        </a:p>
      </dgm:t>
    </dgm:pt>
    <dgm:pt modelId="{A304256C-EFB0-450F-90A7-6A34E622F3DE}" type="parTrans" cxnId="{5D764756-63DF-4244-AC64-824330726C5A}">
      <dgm:prSet/>
      <dgm:spPr/>
      <dgm:t>
        <a:bodyPr/>
        <a:lstStyle/>
        <a:p>
          <a:endParaRPr lang="pt-BR"/>
        </a:p>
      </dgm:t>
    </dgm:pt>
    <dgm:pt modelId="{7E969559-F510-444B-B148-9C183C7DF67A}" type="sibTrans" cxnId="{5D764756-63DF-4244-AC64-824330726C5A}">
      <dgm:prSet/>
      <dgm:spPr/>
      <dgm:t>
        <a:bodyPr/>
        <a:lstStyle/>
        <a:p>
          <a:endParaRPr lang="pt-BR"/>
        </a:p>
      </dgm:t>
    </dgm:pt>
    <dgm:pt modelId="{10EFAF41-0269-4E48-8AD5-8E985F2701F7}">
      <dgm:prSet phldrT="[Texto]"/>
      <dgm:spPr/>
      <dgm:t>
        <a:bodyPr/>
        <a:lstStyle/>
        <a:p>
          <a:r>
            <a:rPr lang="pt-BR" dirty="0" smtClean="0"/>
            <a:t>Radio frequência </a:t>
          </a:r>
          <a:endParaRPr lang="pt-BR" dirty="0"/>
        </a:p>
      </dgm:t>
    </dgm:pt>
    <dgm:pt modelId="{1530A5D7-3731-4C93-9232-C0C835A5678A}" type="parTrans" cxnId="{5A9356E0-C088-4E4A-B9DD-906F25A2503D}">
      <dgm:prSet/>
      <dgm:spPr/>
      <dgm:t>
        <a:bodyPr/>
        <a:lstStyle/>
        <a:p>
          <a:endParaRPr lang="pt-BR"/>
        </a:p>
      </dgm:t>
    </dgm:pt>
    <dgm:pt modelId="{45B1BE33-B04B-4840-8493-4276CF7022A1}" type="sibTrans" cxnId="{5A9356E0-C088-4E4A-B9DD-906F25A2503D}">
      <dgm:prSet/>
      <dgm:spPr/>
      <dgm:t>
        <a:bodyPr/>
        <a:lstStyle/>
        <a:p>
          <a:endParaRPr lang="pt-BR"/>
        </a:p>
      </dgm:t>
    </dgm:pt>
    <dgm:pt modelId="{F65CC7AC-831D-41C6-A018-4EDFC7128EE7}">
      <dgm:prSet phldrT="[Texto]"/>
      <dgm:spPr/>
      <dgm:t>
        <a:bodyPr/>
        <a:lstStyle/>
        <a:p>
          <a:r>
            <a:rPr lang="pt-BR" b="0" i="0" dirty="0" smtClean="0"/>
            <a:t>Licenciamento</a:t>
          </a:r>
          <a:endParaRPr lang="pt-BR" dirty="0"/>
        </a:p>
      </dgm:t>
    </dgm:pt>
    <dgm:pt modelId="{CFCD337C-E821-4604-BD2B-4013ED1F5ABF}" type="parTrans" cxnId="{7223BD50-D15D-47F1-9BC0-893CE6AF12B3}">
      <dgm:prSet/>
      <dgm:spPr/>
      <dgm:t>
        <a:bodyPr/>
        <a:lstStyle/>
        <a:p>
          <a:endParaRPr lang="pt-BR"/>
        </a:p>
      </dgm:t>
    </dgm:pt>
    <dgm:pt modelId="{1A104262-0375-412A-B253-B8C9C9AABB63}" type="sibTrans" cxnId="{7223BD50-D15D-47F1-9BC0-893CE6AF12B3}">
      <dgm:prSet/>
      <dgm:spPr/>
      <dgm:t>
        <a:bodyPr/>
        <a:lstStyle/>
        <a:p>
          <a:endParaRPr lang="pt-BR"/>
        </a:p>
      </dgm:t>
    </dgm:pt>
    <dgm:pt modelId="{792CE76A-5CD2-4AE3-9446-E92C0895F58D}">
      <dgm:prSet phldrT="[Texto]"/>
      <dgm:spPr/>
      <dgm:t>
        <a:bodyPr/>
        <a:lstStyle/>
        <a:p>
          <a:r>
            <a:rPr lang="pt-BR" b="0" i="0" dirty="0" smtClean="0"/>
            <a:t>Pesquisa, Desenvolvimento e Inovação</a:t>
          </a:r>
          <a:endParaRPr lang="pt-BR" dirty="0"/>
        </a:p>
      </dgm:t>
    </dgm:pt>
    <dgm:pt modelId="{38FC6BFE-F181-4666-AC3C-DBF9BB2755F9}" type="parTrans" cxnId="{468DC51F-5DC1-4A23-A95D-EE8753BD091A}">
      <dgm:prSet/>
      <dgm:spPr/>
      <dgm:t>
        <a:bodyPr/>
        <a:lstStyle/>
        <a:p>
          <a:endParaRPr lang="pt-BR"/>
        </a:p>
      </dgm:t>
    </dgm:pt>
    <dgm:pt modelId="{73BCA82E-146E-4221-B1E4-07EC37F195EC}" type="sibTrans" cxnId="{468DC51F-5DC1-4A23-A95D-EE8753BD091A}">
      <dgm:prSet/>
      <dgm:spPr/>
      <dgm:t>
        <a:bodyPr/>
        <a:lstStyle/>
        <a:p>
          <a:endParaRPr lang="pt-BR"/>
        </a:p>
      </dgm:t>
    </dgm:pt>
    <dgm:pt modelId="{2369CC29-4C3D-4065-9DA7-9652D081A23A}">
      <dgm:prSet phldrT="[Texto]"/>
      <dgm:spPr/>
      <dgm:t>
        <a:bodyPr/>
        <a:lstStyle/>
        <a:p>
          <a:r>
            <a:rPr lang="pt-BR" dirty="0" smtClean="0"/>
            <a:t>Aplicações</a:t>
          </a:r>
          <a:endParaRPr lang="pt-BR" dirty="0"/>
        </a:p>
      </dgm:t>
    </dgm:pt>
    <dgm:pt modelId="{06353392-ACC4-4EB6-BCF2-4570A8F5D2B4}" type="parTrans" cxnId="{0308CD23-5CC1-4AA5-B015-C8C3A1DE6641}">
      <dgm:prSet/>
      <dgm:spPr/>
      <dgm:t>
        <a:bodyPr/>
        <a:lstStyle/>
        <a:p>
          <a:endParaRPr lang="pt-BR"/>
        </a:p>
      </dgm:t>
    </dgm:pt>
    <dgm:pt modelId="{10C03FF0-5154-4612-8780-FFDA9993CC09}" type="sibTrans" cxnId="{0308CD23-5CC1-4AA5-B015-C8C3A1DE6641}">
      <dgm:prSet/>
      <dgm:spPr/>
      <dgm:t>
        <a:bodyPr/>
        <a:lstStyle/>
        <a:p>
          <a:endParaRPr lang="pt-BR"/>
        </a:p>
      </dgm:t>
    </dgm:pt>
    <dgm:pt modelId="{7E76742A-5E71-4589-9901-4D5B2C5D704A}">
      <dgm:prSet phldrT="[Texto]"/>
      <dgm:spPr/>
      <dgm:t>
        <a:bodyPr/>
        <a:lstStyle/>
        <a:p>
          <a:r>
            <a:rPr lang="pt-BR" dirty="0" smtClean="0"/>
            <a:t>Segurança</a:t>
          </a:r>
          <a:endParaRPr lang="pt-BR" dirty="0"/>
        </a:p>
      </dgm:t>
    </dgm:pt>
    <dgm:pt modelId="{357B4A8A-8EF9-46E5-9521-E5F4D454C864}" type="parTrans" cxnId="{3A783690-1A9C-434A-BC51-4EF970CA9BB8}">
      <dgm:prSet/>
      <dgm:spPr/>
      <dgm:t>
        <a:bodyPr/>
        <a:lstStyle/>
        <a:p>
          <a:endParaRPr lang="pt-BR"/>
        </a:p>
      </dgm:t>
    </dgm:pt>
    <dgm:pt modelId="{62A1B4AF-23ED-4D1E-8056-5188A17F8B19}" type="sibTrans" cxnId="{3A783690-1A9C-434A-BC51-4EF970CA9BB8}">
      <dgm:prSet/>
      <dgm:spPr/>
      <dgm:t>
        <a:bodyPr/>
        <a:lstStyle/>
        <a:p>
          <a:endParaRPr lang="pt-BR"/>
        </a:p>
      </dgm:t>
    </dgm:pt>
    <dgm:pt modelId="{157D6B82-112D-4BE6-A59B-1FD71AC0D7C3}" type="pres">
      <dgm:prSet presAssocID="{197FA1B4-C187-4DD3-8443-6839AADD513A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F24D331C-75B8-4A11-913C-60EAC5004F32}" type="pres">
      <dgm:prSet presAssocID="{5B901619-AD14-416E-9F71-8873417DA2D9}" presName="roof" presStyleLbl="dkBgShp" presStyleIdx="0" presStyleCnt="2"/>
      <dgm:spPr/>
      <dgm:t>
        <a:bodyPr/>
        <a:lstStyle/>
        <a:p>
          <a:endParaRPr lang="pt-BR"/>
        </a:p>
      </dgm:t>
    </dgm:pt>
    <dgm:pt modelId="{C35AC35C-D693-42F7-B668-8817FA56F170}" type="pres">
      <dgm:prSet presAssocID="{5B901619-AD14-416E-9F71-8873417DA2D9}" presName="pillars" presStyleCnt="0"/>
      <dgm:spPr/>
    </dgm:pt>
    <dgm:pt modelId="{A92EA586-F7C1-42C2-91D8-0829593ED0CF}" type="pres">
      <dgm:prSet presAssocID="{5B901619-AD14-416E-9F71-8873417DA2D9}" presName="pillar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1D78A8A-A3C4-477C-961D-86CDA864A305}" type="pres">
      <dgm:prSet presAssocID="{F65CC7AC-831D-41C6-A018-4EDFC7128EE7}" presName="pillarX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E6D54B2-DE77-4B21-88AE-A96BBD76F8D4}" type="pres">
      <dgm:prSet presAssocID="{792CE76A-5CD2-4AE3-9446-E92C0895F58D}" presName="pillarX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27F4D7-D2E4-44D4-9879-B93661485C97}" type="pres">
      <dgm:prSet presAssocID="{2369CC29-4C3D-4065-9DA7-9652D081A23A}" presName="pillarX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58F047D-9E2F-4419-A313-BFB363C5A862}" type="pres">
      <dgm:prSet presAssocID="{7E76742A-5E71-4589-9901-4D5B2C5D704A}" presName="pillarX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2C3E9A2-C3D3-4F6F-9693-378B1C00D3FC}" type="pres">
      <dgm:prSet presAssocID="{5B901619-AD14-416E-9F71-8873417DA2D9}" presName="base" presStyleLbl="dkBgShp" presStyleIdx="1" presStyleCnt="2"/>
      <dgm:spPr/>
    </dgm:pt>
  </dgm:ptLst>
  <dgm:cxnLst>
    <dgm:cxn modelId="{7223BD50-D15D-47F1-9BC0-893CE6AF12B3}" srcId="{5B901619-AD14-416E-9F71-8873417DA2D9}" destId="{F65CC7AC-831D-41C6-A018-4EDFC7128EE7}" srcOrd="1" destOrd="0" parTransId="{CFCD337C-E821-4604-BD2B-4013ED1F5ABF}" sibTransId="{1A104262-0375-412A-B253-B8C9C9AABB63}"/>
    <dgm:cxn modelId="{5A9356E0-C088-4E4A-B9DD-906F25A2503D}" srcId="{5B901619-AD14-416E-9F71-8873417DA2D9}" destId="{10EFAF41-0269-4E48-8AD5-8E985F2701F7}" srcOrd="0" destOrd="0" parTransId="{1530A5D7-3731-4C93-9232-C0C835A5678A}" sibTransId="{45B1BE33-B04B-4840-8493-4276CF7022A1}"/>
    <dgm:cxn modelId="{3A783690-1A9C-434A-BC51-4EF970CA9BB8}" srcId="{5B901619-AD14-416E-9F71-8873417DA2D9}" destId="{7E76742A-5E71-4589-9901-4D5B2C5D704A}" srcOrd="4" destOrd="0" parTransId="{357B4A8A-8EF9-46E5-9521-E5F4D454C864}" sibTransId="{62A1B4AF-23ED-4D1E-8056-5188A17F8B19}"/>
    <dgm:cxn modelId="{F3654EF7-0E39-460A-8484-38834B7C0ABB}" type="presOf" srcId="{10EFAF41-0269-4E48-8AD5-8E985F2701F7}" destId="{A92EA586-F7C1-42C2-91D8-0829593ED0CF}" srcOrd="0" destOrd="0" presId="urn:microsoft.com/office/officeart/2005/8/layout/hList3"/>
    <dgm:cxn modelId="{5D764756-63DF-4244-AC64-824330726C5A}" srcId="{197FA1B4-C187-4DD3-8443-6839AADD513A}" destId="{5B901619-AD14-416E-9F71-8873417DA2D9}" srcOrd="0" destOrd="0" parTransId="{A304256C-EFB0-450F-90A7-6A34E622F3DE}" sibTransId="{7E969559-F510-444B-B148-9C183C7DF67A}"/>
    <dgm:cxn modelId="{0308CD23-5CC1-4AA5-B015-C8C3A1DE6641}" srcId="{5B901619-AD14-416E-9F71-8873417DA2D9}" destId="{2369CC29-4C3D-4065-9DA7-9652D081A23A}" srcOrd="3" destOrd="0" parTransId="{06353392-ACC4-4EB6-BCF2-4570A8F5D2B4}" sibTransId="{10C03FF0-5154-4612-8780-FFDA9993CC09}"/>
    <dgm:cxn modelId="{79FD7B34-B4B1-4C0B-B123-F3848099C407}" type="presOf" srcId="{792CE76A-5CD2-4AE3-9446-E92C0895F58D}" destId="{4E6D54B2-DE77-4B21-88AE-A96BBD76F8D4}" srcOrd="0" destOrd="0" presId="urn:microsoft.com/office/officeart/2005/8/layout/hList3"/>
    <dgm:cxn modelId="{00524C94-A0D4-407B-9730-CE468C6EA289}" type="presOf" srcId="{2369CC29-4C3D-4065-9DA7-9652D081A23A}" destId="{1E27F4D7-D2E4-44D4-9879-B93661485C97}" srcOrd="0" destOrd="0" presId="urn:microsoft.com/office/officeart/2005/8/layout/hList3"/>
    <dgm:cxn modelId="{B56789D9-09E9-4125-9FD1-D3925AF1A8A8}" type="presOf" srcId="{197FA1B4-C187-4DD3-8443-6839AADD513A}" destId="{157D6B82-112D-4BE6-A59B-1FD71AC0D7C3}" srcOrd="0" destOrd="0" presId="urn:microsoft.com/office/officeart/2005/8/layout/hList3"/>
    <dgm:cxn modelId="{468DC51F-5DC1-4A23-A95D-EE8753BD091A}" srcId="{5B901619-AD14-416E-9F71-8873417DA2D9}" destId="{792CE76A-5CD2-4AE3-9446-E92C0895F58D}" srcOrd="2" destOrd="0" parTransId="{38FC6BFE-F181-4666-AC3C-DBF9BB2755F9}" sibTransId="{73BCA82E-146E-4221-B1E4-07EC37F195EC}"/>
    <dgm:cxn modelId="{A70C6D74-9A1C-4811-99B1-187F3FDFFBC6}" type="presOf" srcId="{7E76742A-5E71-4589-9901-4D5B2C5D704A}" destId="{358F047D-9E2F-4419-A313-BFB363C5A862}" srcOrd="0" destOrd="0" presId="urn:microsoft.com/office/officeart/2005/8/layout/hList3"/>
    <dgm:cxn modelId="{F2F0D942-4246-41C8-9AD0-2CDB2DB26687}" type="presOf" srcId="{5B901619-AD14-416E-9F71-8873417DA2D9}" destId="{F24D331C-75B8-4A11-913C-60EAC5004F32}" srcOrd="0" destOrd="0" presId="urn:microsoft.com/office/officeart/2005/8/layout/hList3"/>
    <dgm:cxn modelId="{8F8BA995-7065-40B2-B62C-074C513F025B}" type="presOf" srcId="{F65CC7AC-831D-41C6-A018-4EDFC7128EE7}" destId="{E1D78A8A-A3C4-477C-961D-86CDA864A305}" srcOrd="0" destOrd="0" presId="urn:microsoft.com/office/officeart/2005/8/layout/hList3"/>
    <dgm:cxn modelId="{753290DE-8F6C-431E-BF14-5EE98133502D}" type="presParOf" srcId="{157D6B82-112D-4BE6-A59B-1FD71AC0D7C3}" destId="{F24D331C-75B8-4A11-913C-60EAC5004F32}" srcOrd="0" destOrd="0" presId="urn:microsoft.com/office/officeart/2005/8/layout/hList3"/>
    <dgm:cxn modelId="{1550D1CE-D9F9-4256-85AF-2052A474A73B}" type="presParOf" srcId="{157D6B82-112D-4BE6-A59B-1FD71AC0D7C3}" destId="{C35AC35C-D693-42F7-B668-8817FA56F170}" srcOrd="1" destOrd="0" presId="urn:microsoft.com/office/officeart/2005/8/layout/hList3"/>
    <dgm:cxn modelId="{719297D5-7D96-46E3-B6F3-2D279ABB961D}" type="presParOf" srcId="{C35AC35C-D693-42F7-B668-8817FA56F170}" destId="{A92EA586-F7C1-42C2-91D8-0829593ED0CF}" srcOrd="0" destOrd="0" presId="urn:microsoft.com/office/officeart/2005/8/layout/hList3"/>
    <dgm:cxn modelId="{1542623E-0F59-4BB0-BF96-AD1D63CEC258}" type="presParOf" srcId="{C35AC35C-D693-42F7-B668-8817FA56F170}" destId="{E1D78A8A-A3C4-477C-961D-86CDA864A305}" srcOrd="1" destOrd="0" presId="urn:microsoft.com/office/officeart/2005/8/layout/hList3"/>
    <dgm:cxn modelId="{283214A8-4590-4885-8236-178AB7F56835}" type="presParOf" srcId="{C35AC35C-D693-42F7-B668-8817FA56F170}" destId="{4E6D54B2-DE77-4B21-88AE-A96BBD76F8D4}" srcOrd="2" destOrd="0" presId="urn:microsoft.com/office/officeart/2005/8/layout/hList3"/>
    <dgm:cxn modelId="{8CEA6848-3035-490F-B7FB-2963D2BE18A3}" type="presParOf" srcId="{C35AC35C-D693-42F7-B668-8817FA56F170}" destId="{1E27F4D7-D2E4-44D4-9879-B93661485C97}" srcOrd="3" destOrd="0" presId="urn:microsoft.com/office/officeart/2005/8/layout/hList3"/>
    <dgm:cxn modelId="{CF83F6B4-536E-47D8-80C8-A73A09089A4E}" type="presParOf" srcId="{C35AC35C-D693-42F7-B668-8817FA56F170}" destId="{358F047D-9E2F-4419-A313-BFB363C5A862}" srcOrd="4" destOrd="0" presId="urn:microsoft.com/office/officeart/2005/8/layout/hList3"/>
    <dgm:cxn modelId="{E2EEE1B3-0712-4106-B7D9-C008A69E29F0}" type="presParOf" srcId="{157D6B82-112D-4BE6-A59B-1FD71AC0D7C3}" destId="{72C3E9A2-C3D3-4F6F-9693-378B1C00D3FC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A5CE169-FC02-4E88-B404-15E9DB0A7B15}" type="doc">
      <dgm:prSet loTypeId="urn:microsoft.com/office/officeart/2005/8/layout/hierarchy4" loCatId="list" qsTypeId="urn:microsoft.com/office/officeart/2005/8/quickstyle/3d4" qsCatId="3D" csTypeId="urn:microsoft.com/office/officeart/2005/8/colors/colorful2" csCatId="colorful" phldr="1"/>
      <dgm:spPr/>
      <dgm:t>
        <a:bodyPr/>
        <a:lstStyle/>
        <a:p>
          <a:endParaRPr lang="pt-BR"/>
        </a:p>
      </dgm:t>
    </dgm:pt>
    <dgm:pt modelId="{32BA2C9D-5366-4222-A2AA-D07F5FC3269F}">
      <dgm:prSet custT="1"/>
      <dgm:spPr/>
      <dgm:t>
        <a:bodyPr/>
        <a:lstStyle/>
        <a:p>
          <a:pPr rtl="0"/>
          <a:r>
            <a:rPr lang="en-GB" sz="3600" b="1" dirty="0" smtClean="0">
              <a:solidFill>
                <a:schemeClr val="tx1"/>
              </a:solidFill>
            </a:rPr>
            <a:t>INCENTIVOS E BENEFÍCIOS </a:t>
          </a:r>
          <a:br>
            <a:rPr lang="en-GB" sz="3600" b="1" dirty="0" smtClean="0">
              <a:solidFill>
                <a:schemeClr val="tx1"/>
              </a:solidFill>
            </a:rPr>
          </a:br>
          <a:r>
            <a:rPr lang="en-GB" sz="3600" b="1" u="sng" dirty="0" smtClean="0">
              <a:solidFill>
                <a:schemeClr val="tx1"/>
              </a:solidFill>
            </a:rPr>
            <a:t>Lei n</a:t>
          </a:r>
          <a:r>
            <a:rPr lang="en-GB" sz="3600" b="1" u="sng" baseline="30000" dirty="0" smtClean="0">
              <a:solidFill>
                <a:schemeClr val="tx1"/>
              </a:solidFill>
            </a:rPr>
            <a:t>o</a:t>
          </a:r>
          <a:r>
            <a:rPr lang="en-GB" sz="3600" b="1" u="sng" dirty="0" smtClean="0">
              <a:solidFill>
                <a:schemeClr val="tx1"/>
              </a:solidFill>
            </a:rPr>
            <a:t> 13.969, de 2019</a:t>
          </a:r>
          <a:endParaRPr lang="pt-BR" sz="3600" b="1" dirty="0">
            <a:solidFill>
              <a:schemeClr val="tx1"/>
            </a:solidFill>
          </a:endParaRPr>
        </a:p>
      </dgm:t>
    </dgm:pt>
    <dgm:pt modelId="{D3082FDF-A14D-47B7-B522-9BB6C4F89137}" type="parTrans" cxnId="{BB8E037A-3CEB-40CD-BEF9-3E448EE3428C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56310359-59B7-47CC-9DDD-FD57DDBB94ED}" type="sibTrans" cxnId="{BB8E037A-3CEB-40CD-BEF9-3E448EE3428C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71EFA773-FC0F-4805-BC28-7CBBC13CEE87}">
      <dgm:prSet/>
      <dgm:spPr/>
      <dgm:t>
        <a:bodyPr/>
        <a:lstStyle/>
        <a:p>
          <a:pPr rtl="0"/>
          <a:r>
            <a:rPr lang="en-GB" b="1" dirty="0" err="1" smtClean="0">
              <a:solidFill>
                <a:schemeClr val="tx1"/>
              </a:solidFill>
            </a:rPr>
            <a:t>Vigência</a:t>
          </a:r>
          <a:r>
            <a:rPr lang="en-GB" b="1" dirty="0" smtClean="0">
              <a:solidFill>
                <a:schemeClr val="tx1"/>
              </a:solidFill>
            </a:rPr>
            <a:t> </a:t>
          </a:r>
          <a:r>
            <a:rPr lang="en-GB" b="1" dirty="0" err="1" smtClean="0">
              <a:solidFill>
                <a:schemeClr val="tx1"/>
              </a:solidFill>
            </a:rPr>
            <a:t>até</a:t>
          </a:r>
          <a:r>
            <a:rPr lang="en-GB" b="1" dirty="0" smtClean="0">
              <a:solidFill>
                <a:schemeClr val="tx1"/>
              </a:solidFill>
            </a:rPr>
            <a:t> </a:t>
          </a:r>
          <a:r>
            <a:rPr lang="en-GB" b="1" dirty="0" err="1" smtClean="0">
              <a:solidFill>
                <a:schemeClr val="tx1"/>
              </a:solidFill>
            </a:rPr>
            <a:t>dez</a:t>
          </a:r>
          <a:r>
            <a:rPr lang="en-GB" b="1" dirty="0" smtClean="0">
              <a:solidFill>
                <a:schemeClr val="tx1"/>
              </a:solidFill>
            </a:rPr>
            <a:t>/2029</a:t>
          </a:r>
          <a:endParaRPr lang="pt-BR" b="1" dirty="0">
            <a:solidFill>
              <a:schemeClr val="tx1"/>
            </a:solidFill>
          </a:endParaRPr>
        </a:p>
      </dgm:t>
    </dgm:pt>
    <dgm:pt modelId="{B02BB6E4-8299-4D21-85CD-B8534CB0860E}" type="parTrans" cxnId="{86E2414A-F1B2-4684-9B65-16DE937CF983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25C6B959-D6AD-4F90-8441-7791E08118A8}" type="sibTrans" cxnId="{86E2414A-F1B2-4684-9B65-16DE937CF983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B2DF9B72-D3E2-4E32-B7D8-5E9E8169E522}">
      <dgm:prSet/>
      <dgm:spPr/>
      <dgm:t>
        <a:bodyPr/>
        <a:lstStyle/>
        <a:p>
          <a:pPr rtl="0"/>
          <a:r>
            <a:rPr lang="en-GB" b="1" dirty="0" smtClean="0">
              <a:solidFill>
                <a:schemeClr val="tx1"/>
              </a:solidFill>
            </a:rPr>
            <a:t>Crédito </a:t>
          </a:r>
          <a:r>
            <a:rPr lang="en-GB" b="1" dirty="0" err="1" smtClean="0">
              <a:solidFill>
                <a:schemeClr val="tx1"/>
              </a:solidFill>
            </a:rPr>
            <a:t>financeiro</a:t>
          </a:r>
          <a:r>
            <a:rPr lang="en-GB" b="1" dirty="0" smtClean="0">
              <a:solidFill>
                <a:schemeClr val="tx1"/>
              </a:solidFill>
            </a:rPr>
            <a:t> </a:t>
          </a:r>
          <a:r>
            <a:rPr lang="pt-BR" b="1" noProof="0" dirty="0" smtClean="0">
              <a:solidFill>
                <a:schemeClr val="tx1"/>
              </a:solidFill>
            </a:rPr>
            <a:t>proporcional</a:t>
          </a:r>
          <a:r>
            <a:rPr lang="en-GB" b="1" dirty="0" smtClean="0">
              <a:solidFill>
                <a:schemeClr val="tx1"/>
              </a:solidFill>
            </a:rPr>
            <a:t> </a:t>
          </a:r>
          <a:r>
            <a:rPr lang="en-GB" b="1" dirty="0" err="1" smtClean="0">
              <a:solidFill>
                <a:schemeClr val="tx1"/>
              </a:solidFill>
            </a:rPr>
            <a:t>aos</a:t>
          </a:r>
          <a:r>
            <a:rPr lang="en-GB" b="1" dirty="0" smtClean="0">
              <a:solidFill>
                <a:schemeClr val="tx1"/>
              </a:solidFill>
            </a:rPr>
            <a:t> </a:t>
          </a:r>
          <a:r>
            <a:rPr lang="en-GB" b="1" dirty="0" err="1" smtClean="0">
              <a:solidFill>
                <a:schemeClr val="tx1"/>
              </a:solidFill>
            </a:rPr>
            <a:t>investimentos</a:t>
          </a:r>
          <a:r>
            <a:rPr lang="en-GB" b="1" dirty="0" smtClean="0">
              <a:solidFill>
                <a:schemeClr val="tx1"/>
              </a:solidFill>
            </a:rPr>
            <a:t> </a:t>
          </a:r>
          <a:r>
            <a:rPr lang="en-GB" b="1" dirty="0" err="1" smtClean="0">
              <a:solidFill>
                <a:schemeClr val="tx1"/>
              </a:solidFill>
            </a:rPr>
            <a:t>em</a:t>
          </a:r>
          <a:r>
            <a:rPr lang="en-GB" b="1" dirty="0" smtClean="0">
              <a:solidFill>
                <a:schemeClr val="tx1"/>
              </a:solidFill>
            </a:rPr>
            <a:t> PD&amp;I</a:t>
          </a:r>
          <a:endParaRPr lang="pt-BR" b="1" dirty="0">
            <a:solidFill>
              <a:schemeClr val="tx1"/>
            </a:solidFill>
          </a:endParaRPr>
        </a:p>
      </dgm:t>
    </dgm:pt>
    <dgm:pt modelId="{5C995CF4-43FD-4CAA-930C-A127DE05A041}" type="parTrans" cxnId="{CE77E533-199A-4F19-98D6-81A640A0897A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E9BBBCC1-844A-446B-920A-46B5E82C2CB6}" type="sibTrans" cxnId="{CE77E533-199A-4F19-98D6-81A640A0897A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15001FBD-182F-4649-BB67-41E28085F268}">
      <dgm:prSet/>
      <dgm:spPr/>
      <dgm:t>
        <a:bodyPr/>
        <a:lstStyle/>
        <a:p>
          <a:pPr rtl="0"/>
          <a:r>
            <a:rPr lang="en-GB" b="1" smtClean="0">
              <a:solidFill>
                <a:schemeClr val="tx1"/>
              </a:solidFill>
            </a:rPr>
            <a:t>Faturamento de bens habilitados que cumprem PPB</a:t>
          </a:r>
          <a:endParaRPr lang="pt-BR" b="1">
            <a:solidFill>
              <a:schemeClr val="tx1"/>
            </a:solidFill>
          </a:endParaRPr>
        </a:p>
      </dgm:t>
    </dgm:pt>
    <dgm:pt modelId="{B1DC7320-9EE0-40E2-BF3A-D3C7F66799C5}" type="parTrans" cxnId="{076DC398-AC15-4342-AA18-BCA21C9EC2DA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71E7CAF7-F88B-47AE-8E0E-EAE0C62699D1}" type="sibTrans" cxnId="{076DC398-AC15-4342-AA18-BCA21C9EC2DA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88875694-FE0A-4BB7-BBE4-37DB21F325D0}">
      <dgm:prSet/>
      <dgm:spPr/>
      <dgm:t>
        <a:bodyPr/>
        <a:lstStyle/>
        <a:p>
          <a:pPr rtl="0"/>
          <a:r>
            <a:rPr lang="en-GB" b="1" dirty="0" err="1" smtClean="0">
              <a:solidFill>
                <a:schemeClr val="tx1"/>
              </a:solidFill>
            </a:rPr>
            <a:t>Direito</a:t>
          </a:r>
          <a:r>
            <a:rPr lang="en-GB" b="1" dirty="0" smtClean="0">
              <a:solidFill>
                <a:schemeClr val="tx1"/>
              </a:solidFill>
            </a:rPr>
            <a:t> de </a:t>
          </a:r>
          <a:r>
            <a:rPr lang="en-GB" b="1" dirty="0" err="1" smtClean="0">
              <a:solidFill>
                <a:schemeClr val="tx1"/>
              </a:solidFill>
            </a:rPr>
            <a:t>preferência</a:t>
          </a:r>
          <a:r>
            <a:rPr lang="en-GB" b="1" dirty="0" smtClean="0">
              <a:solidFill>
                <a:schemeClr val="tx1"/>
              </a:solidFill>
            </a:rPr>
            <a:t> – </a:t>
          </a:r>
          <a:r>
            <a:rPr lang="en-GB" b="1" dirty="0" err="1" smtClean="0">
              <a:solidFill>
                <a:schemeClr val="tx1"/>
              </a:solidFill>
            </a:rPr>
            <a:t>compras</a:t>
          </a:r>
          <a:r>
            <a:rPr lang="en-GB" b="1" dirty="0" smtClean="0">
              <a:solidFill>
                <a:schemeClr val="tx1"/>
              </a:solidFill>
            </a:rPr>
            <a:t> da </a:t>
          </a:r>
          <a:r>
            <a:rPr lang="en-GB" b="1" dirty="0" err="1" smtClean="0">
              <a:solidFill>
                <a:schemeClr val="tx1"/>
              </a:solidFill>
            </a:rPr>
            <a:t>Administração</a:t>
          </a:r>
          <a:r>
            <a:rPr lang="en-GB" b="1" dirty="0" smtClean="0">
              <a:solidFill>
                <a:schemeClr val="tx1"/>
              </a:solidFill>
            </a:rPr>
            <a:t> </a:t>
          </a:r>
          <a:r>
            <a:rPr lang="en-GB" b="1" dirty="0" err="1" smtClean="0">
              <a:solidFill>
                <a:schemeClr val="tx1"/>
              </a:solidFill>
            </a:rPr>
            <a:t>Pública</a:t>
          </a:r>
          <a:endParaRPr lang="pt-BR" b="1" dirty="0">
            <a:solidFill>
              <a:schemeClr val="tx1"/>
            </a:solidFill>
          </a:endParaRPr>
        </a:p>
      </dgm:t>
    </dgm:pt>
    <dgm:pt modelId="{D093CAF3-C952-4ACE-B8FE-6314CC078908}" type="parTrans" cxnId="{DAEF716D-3744-4BBA-A434-E32EC0FB7AD8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A0DDADD0-1EF4-4CB6-8E5F-48A42ED08495}" type="sibTrans" cxnId="{DAEF716D-3744-4BBA-A434-E32EC0FB7AD8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ADC73A71-486B-41BE-8A18-890ECBE8CB4E}">
      <dgm:prSet/>
      <dgm:spPr/>
      <dgm:t>
        <a:bodyPr/>
        <a:lstStyle/>
        <a:p>
          <a:pPr rtl="0"/>
          <a:r>
            <a:rPr lang="en-GB" b="1" smtClean="0">
              <a:solidFill>
                <a:schemeClr val="tx1"/>
              </a:solidFill>
            </a:rPr>
            <a:t>Redução do ICMS – concedida pelos Estados</a:t>
          </a:r>
          <a:endParaRPr lang="pt-BR" b="1">
            <a:solidFill>
              <a:schemeClr val="tx1"/>
            </a:solidFill>
          </a:endParaRPr>
        </a:p>
      </dgm:t>
    </dgm:pt>
    <dgm:pt modelId="{22ABCE51-C910-40CB-AC15-F0C63FFA27B4}" type="parTrans" cxnId="{71D11470-7B5B-46A1-B535-62FCBDDE91DF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06F06423-BD35-46C1-B286-3032E5F5471B}" type="sibTrans" cxnId="{71D11470-7B5B-46A1-B535-62FCBDDE91DF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E142A6C8-0312-4943-9287-195576B93C75}">
      <dgm:prSet/>
      <dgm:spPr/>
      <dgm:t>
        <a:bodyPr/>
        <a:lstStyle/>
        <a:p>
          <a:pPr rtl="0"/>
          <a:r>
            <a:rPr lang="pt-BR" b="1" noProof="0" dirty="0" smtClean="0">
              <a:solidFill>
                <a:schemeClr val="tx1"/>
              </a:solidFill>
            </a:rPr>
            <a:t>Suspensão</a:t>
          </a:r>
          <a:r>
            <a:rPr lang="en-GB" b="1" dirty="0" smtClean="0">
              <a:solidFill>
                <a:schemeClr val="tx1"/>
              </a:solidFill>
            </a:rPr>
            <a:t> do IPI </a:t>
          </a:r>
          <a:r>
            <a:rPr lang="en-GB" b="1" dirty="0" err="1" smtClean="0">
              <a:solidFill>
                <a:schemeClr val="tx1"/>
              </a:solidFill>
            </a:rPr>
            <a:t>na</a:t>
          </a:r>
          <a:r>
            <a:rPr lang="en-GB" b="1" dirty="0" smtClean="0">
              <a:solidFill>
                <a:schemeClr val="tx1"/>
              </a:solidFill>
            </a:rPr>
            <a:t> entrada</a:t>
          </a:r>
          <a:endParaRPr lang="pt-BR" b="1" dirty="0">
            <a:solidFill>
              <a:schemeClr val="tx1"/>
            </a:solidFill>
          </a:endParaRPr>
        </a:p>
      </dgm:t>
    </dgm:pt>
    <dgm:pt modelId="{B25B9B19-C627-4833-B5D4-6EF4AEF5E547}" type="parTrans" cxnId="{2E38F474-C2E9-47BD-8F36-FB8D0525716B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D44AB4FD-948B-4389-96CB-985093E3325D}" type="sibTrans" cxnId="{2E38F474-C2E9-47BD-8F36-FB8D0525716B}">
      <dgm:prSet/>
      <dgm:spPr/>
      <dgm:t>
        <a:bodyPr/>
        <a:lstStyle/>
        <a:p>
          <a:endParaRPr lang="pt-BR" b="1">
            <a:solidFill>
              <a:schemeClr val="tx1"/>
            </a:solidFill>
          </a:endParaRPr>
        </a:p>
      </dgm:t>
    </dgm:pt>
    <dgm:pt modelId="{081750B6-7A51-4C24-A430-E1BD63DE81C7}" type="pres">
      <dgm:prSet presAssocID="{EA5CE169-FC02-4E88-B404-15E9DB0A7B1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3091170B-BD5B-41CD-99AD-51146994FBF8}" type="pres">
      <dgm:prSet presAssocID="{32BA2C9D-5366-4222-A2AA-D07F5FC3269F}" presName="vertOne" presStyleCnt="0"/>
      <dgm:spPr/>
    </dgm:pt>
    <dgm:pt modelId="{86B1A0A3-48E9-4F57-8D57-05F7F08AB482}" type="pres">
      <dgm:prSet presAssocID="{32BA2C9D-5366-4222-A2AA-D07F5FC3269F}" presName="txOne" presStyleLbl="node0" presStyleIdx="0" presStyleCnt="1" custLinFactNeighborX="-21934" custLinFactNeighborY="-9692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ABCDC61A-BF67-4D18-B403-E33794371FDF}" type="pres">
      <dgm:prSet presAssocID="{32BA2C9D-5366-4222-A2AA-D07F5FC3269F}" presName="parTransOne" presStyleCnt="0"/>
      <dgm:spPr/>
    </dgm:pt>
    <dgm:pt modelId="{B23C2B9D-117C-41EE-8AE1-2F582EC8619F}" type="pres">
      <dgm:prSet presAssocID="{32BA2C9D-5366-4222-A2AA-D07F5FC3269F}" presName="horzOne" presStyleCnt="0"/>
      <dgm:spPr/>
    </dgm:pt>
    <dgm:pt modelId="{BFCAD502-7C89-4AF8-A0B2-3867FF08F312}" type="pres">
      <dgm:prSet presAssocID="{71EFA773-FC0F-4805-BC28-7CBBC13CEE87}" presName="vertTwo" presStyleCnt="0"/>
      <dgm:spPr/>
    </dgm:pt>
    <dgm:pt modelId="{21DAB75D-C10C-45DC-987C-E6AC35A0B0DD}" type="pres">
      <dgm:prSet presAssocID="{71EFA773-FC0F-4805-BC28-7CBBC13CEE87}" presName="txTwo" presStyleLbl="node2" presStyleIdx="0" presStyleCnt="6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AD284812-C303-4FA9-B665-A65EC41ECB66}" type="pres">
      <dgm:prSet presAssocID="{71EFA773-FC0F-4805-BC28-7CBBC13CEE87}" presName="horzTwo" presStyleCnt="0"/>
      <dgm:spPr/>
    </dgm:pt>
    <dgm:pt modelId="{1C9B4528-F554-4933-847C-CCCFF10A6703}" type="pres">
      <dgm:prSet presAssocID="{25C6B959-D6AD-4F90-8441-7791E08118A8}" presName="sibSpaceTwo" presStyleCnt="0"/>
      <dgm:spPr/>
    </dgm:pt>
    <dgm:pt modelId="{9E9C7380-E983-417B-85FA-89ED78EDD290}" type="pres">
      <dgm:prSet presAssocID="{B2DF9B72-D3E2-4E32-B7D8-5E9E8169E522}" presName="vertTwo" presStyleCnt="0"/>
      <dgm:spPr/>
    </dgm:pt>
    <dgm:pt modelId="{9B54573E-6774-4049-94ED-AF3596DA8C61}" type="pres">
      <dgm:prSet presAssocID="{B2DF9B72-D3E2-4E32-B7D8-5E9E8169E522}" presName="txTwo" presStyleLbl="node2" presStyleIdx="1" presStyleCnt="6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307F9D77-1726-43F4-BA7E-4D7779C4698D}" type="pres">
      <dgm:prSet presAssocID="{B2DF9B72-D3E2-4E32-B7D8-5E9E8169E522}" presName="horzTwo" presStyleCnt="0"/>
      <dgm:spPr/>
    </dgm:pt>
    <dgm:pt modelId="{41D1CCEF-B014-4D41-AAA8-4EBBD033DAE9}" type="pres">
      <dgm:prSet presAssocID="{E9BBBCC1-844A-446B-920A-46B5E82C2CB6}" presName="sibSpaceTwo" presStyleCnt="0"/>
      <dgm:spPr/>
    </dgm:pt>
    <dgm:pt modelId="{E547E17A-5D1B-4E4D-9C13-529C84283EA5}" type="pres">
      <dgm:prSet presAssocID="{15001FBD-182F-4649-BB67-41E28085F268}" presName="vertTwo" presStyleCnt="0"/>
      <dgm:spPr/>
    </dgm:pt>
    <dgm:pt modelId="{8A62F0D3-D6D7-4807-8CB0-4C234022C883}" type="pres">
      <dgm:prSet presAssocID="{15001FBD-182F-4649-BB67-41E28085F268}" presName="txTwo" presStyleLbl="node2" presStyleIdx="2" presStyleCnt="6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D5442B6B-DE47-4C07-A9FE-44AD7DAE34AF}" type="pres">
      <dgm:prSet presAssocID="{15001FBD-182F-4649-BB67-41E28085F268}" presName="horzTwo" presStyleCnt="0"/>
      <dgm:spPr/>
    </dgm:pt>
    <dgm:pt modelId="{405F4A55-A643-49D5-B436-25CDCBB825C2}" type="pres">
      <dgm:prSet presAssocID="{71E7CAF7-F88B-47AE-8E0E-EAE0C62699D1}" presName="sibSpaceTwo" presStyleCnt="0"/>
      <dgm:spPr/>
    </dgm:pt>
    <dgm:pt modelId="{E796EBFB-61CD-4D2E-80F5-5D21358BC88B}" type="pres">
      <dgm:prSet presAssocID="{88875694-FE0A-4BB7-BBE4-37DB21F325D0}" presName="vertTwo" presStyleCnt="0"/>
      <dgm:spPr/>
    </dgm:pt>
    <dgm:pt modelId="{948EBD84-68D7-4A0D-8252-BB3248E96FAD}" type="pres">
      <dgm:prSet presAssocID="{88875694-FE0A-4BB7-BBE4-37DB21F325D0}" presName="txTwo" presStyleLbl="node2" presStyleIdx="3" presStyleCnt="6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0966547F-D3CC-45EA-9A89-8FAE37F8A730}" type="pres">
      <dgm:prSet presAssocID="{88875694-FE0A-4BB7-BBE4-37DB21F325D0}" presName="horzTwo" presStyleCnt="0"/>
      <dgm:spPr/>
    </dgm:pt>
    <dgm:pt modelId="{D45F66BA-52E5-43F6-9748-72BD0DDEEE13}" type="pres">
      <dgm:prSet presAssocID="{A0DDADD0-1EF4-4CB6-8E5F-48A42ED08495}" presName="sibSpaceTwo" presStyleCnt="0"/>
      <dgm:spPr/>
    </dgm:pt>
    <dgm:pt modelId="{B341233C-75D6-46B4-A4E9-0C4B85CAE068}" type="pres">
      <dgm:prSet presAssocID="{ADC73A71-486B-41BE-8A18-890ECBE8CB4E}" presName="vertTwo" presStyleCnt="0"/>
      <dgm:spPr/>
    </dgm:pt>
    <dgm:pt modelId="{6D3C906B-5992-419F-8D9E-B1BADABC6D68}" type="pres">
      <dgm:prSet presAssocID="{ADC73A71-486B-41BE-8A18-890ECBE8CB4E}" presName="txTwo" presStyleLbl="node2" presStyleIdx="4" presStyleCnt="6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A3C8316E-15FA-4E77-A362-F544A12537B8}" type="pres">
      <dgm:prSet presAssocID="{ADC73A71-486B-41BE-8A18-890ECBE8CB4E}" presName="horzTwo" presStyleCnt="0"/>
      <dgm:spPr/>
    </dgm:pt>
    <dgm:pt modelId="{0E71FFB7-4604-438B-B401-588081592E17}" type="pres">
      <dgm:prSet presAssocID="{06F06423-BD35-46C1-B286-3032E5F5471B}" presName="sibSpaceTwo" presStyleCnt="0"/>
      <dgm:spPr/>
    </dgm:pt>
    <dgm:pt modelId="{0EB96289-31A4-489F-A29F-F7E7CDD3D6C7}" type="pres">
      <dgm:prSet presAssocID="{E142A6C8-0312-4943-9287-195576B93C75}" presName="vertTwo" presStyleCnt="0"/>
      <dgm:spPr/>
    </dgm:pt>
    <dgm:pt modelId="{9406C6A6-1728-4A4A-BA19-9B504D2C36E1}" type="pres">
      <dgm:prSet presAssocID="{E142A6C8-0312-4943-9287-195576B93C75}" presName="txTwo" presStyleLbl="node2" presStyleIdx="5" presStyleCnt="6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34A5315A-11C9-4909-913C-89C07364392A}" type="pres">
      <dgm:prSet presAssocID="{E142A6C8-0312-4943-9287-195576B93C75}" presName="horzTwo" presStyleCnt="0"/>
      <dgm:spPr/>
    </dgm:pt>
  </dgm:ptLst>
  <dgm:cxnLst>
    <dgm:cxn modelId="{0EF0BA87-E99A-436F-9D14-3542EC4C26EC}" type="presOf" srcId="{15001FBD-182F-4649-BB67-41E28085F268}" destId="{8A62F0D3-D6D7-4807-8CB0-4C234022C883}" srcOrd="0" destOrd="0" presId="urn:microsoft.com/office/officeart/2005/8/layout/hierarchy4"/>
    <dgm:cxn modelId="{DAEF716D-3744-4BBA-A434-E32EC0FB7AD8}" srcId="{32BA2C9D-5366-4222-A2AA-D07F5FC3269F}" destId="{88875694-FE0A-4BB7-BBE4-37DB21F325D0}" srcOrd="3" destOrd="0" parTransId="{D093CAF3-C952-4ACE-B8FE-6314CC078908}" sibTransId="{A0DDADD0-1EF4-4CB6-8E5F-48A42ED08495}"/>
    <dgm:cxn modelId="{BB8E037A-3CEB-40CD-BEF9-3E448EE3428C}" srcId="{EA5CE169-FC02-4E88-B404-15E9DB0A7B15}" destId="{32BA2C9D-5366-4222-A2AA-D07F5FC3269F}" srcOrd="0" destOrd="0" parTransId="{D3082FDF-A14D-47B7-B522-9BB6C4F89137}" sibTransId="{56310359-59B7-47CC-9DDD-FD57DDBB94ED}"/>
    <dgm:cxn modelId="{8E646EF7-1AB7-4A34-9C39-1326C39692B2}" type="presOf" srcId="{ADC73A71-486B-41BE-8A18-890ECBE8CB4E}" destId="{6D3C906B-5992-419F-8D9E-B1BADABC6D68}" srcOrd="0" destOrd="0" presId="urn:microsoft.com/office/officeart/2005/8/layout/hierarchy4"/>
    <dgm:cxn modelId="{2E38F474-C2E9-47BD-8F36-FB8D0525716B}" srcId="{32BA2C9D-5366-4222-A2AA-D07F5FC3269F}" destId="{E142A6C8-0312-4943-9287-195576B93C75}" srcOrd="5" destOrd="0" parTransId="{B25B9B19-C627-4833-B5D4-6EF4AEF5E547}" sibTransId="{D44AB4FD-948B-4389-96CB-985093E3325D}"/>
    <dgm:cxn modelId="{85C84D2C-CA43-4DF4-B096-8104DE648CA9}" type="presOf" srcId="{B2DF9B72-D3E2-4E32-B7D8-5E9E8169E522}" destId="{9B54573E-6774-4049-94ED-AF3596DA8C61}" srcOrd="0" destOrd="0" presId="urn:microsoft.com/office/officeart/2005/8/layout/hierarchy4"/>
    <dgm:cxn modelId="{E930F221-C453-488E-A201-37E67B59879C}" type="presOf" srcId="{71EFA773-FC0F-4805-BC28-7CBBC13CEE87}" destId="{21DAB75D-C10C-45DC-987C-E6AC35A0B0DD}" srcOrd="0" destOrd="0" presId="urn:microsoft.com/office/officeart/2005/8/layout/hierarchy4"/>
    <dgm:cxn modelId="{86E2414A-F1B2-4684-9B65-16DE937CF983}" srcId="{32BA2C9D-5366-4222-A2AA-D07F5FC3269F}" destId="{71EFA773-FC0F-4805-BC28-7CBBC13CEE87}" srcOrd="0" destOrd="0" parTransId="{B02BB6E4-8299-4D21-85CD-B8534CB0860E}" sibTransId="{25C6B959-D6AD-4F90-8441-7791E08118A8}"/>
    <dgm:cxn modelId="{1D356374-77AC-4B85-9E93-CD28FAC9B2D7}" type="presOf" srcId="{E142A6C8-0312-4943-9287-195576B93C75}" destId="{9406C6A6-1728-4A4A-BA19-9B504D2C36E1}" srcOrd="0" destOrd="0" presId="urn:microsoft.com/office/officeart/2005/8/layout/hierarchy4"/>
    <dgm:cxn modelId="{2701068F-4503-4E04-85C7-B07B0421939D}" type="presOf" srcId="{88875694-FE0A-4BB7-BBE4-37DB21F325D0}" destId="{948EBD84-68D7-4A0D-8252-BB3248E96FAD}" srcOrd="0" destOrd="0" presId="urn:microsoft.com/office/officeart/2005/8/layout/hierarchy4"/>
    <dgm:cxn modelId="{076DC398-AC15-4342-AA18-BCA21C9EC2DA}" srcId="{32BA2C9D-5366-4222-A2AA-D07F5FC3269F}" destId="{15001FBD-182F-4649-BB67-41E28085F268}" srcOrd="2" destOrd="0" parTransId="{B1DC7320-9EE0-40E2-BF3A-D3C7F66799C5}" sibTransId="{71E7CAF7-F88B-47AE-8E0E-EAE0C62699D1}"/>
    <dgm:cxn modelId="{802E8075-4F35-4008-8C7D-FD59315F86BC}" type="presOf" srcId="{32BA2C9D-5366-4222-A2AA-D07F5FC3269F}" destId="{86B1A0A3-48E9-4F57-8D57-05F7F08AB482}" srcOrd="0" destOrd="0" presId="urn:microsoft.com/office/officeart/2005/8/layout/hierarchy4"/>
    <dgm:cxn modelId="{CE77E533-199A-4F19-98D6-81A640A0897A}" srcId="{32BA2C9D-5366-4222-A2AA-D07F5FC3269F}" destId="{B2DF9B72-D3E2-4E32-B7D8-5E9E8169E522}" srcOrd="1" destOrd="0" parTransId="{5C995CF4-43FD-4CAA-930C-A127DE05A041}" sibTransId="{E9BBBCC1-844A-446B-920A-46B5E82C2CB6}"/>
    <dgm:cxn modelId="{12C9D451-7C7C-4DDA-BA98-851AD0DE996A}" type="presOf" srcId="{EA5CE169-FC02-4E88-B404-15E9DB0A7B15}" destId="{081750B6-7A51-4C24-A430-E1BD63DE81C7}" srcOrd="0" destOrd="0" presId="urn:microsoft.com/office/officeart/2005/8/layout/hierarchy4"/>
    <dgm:cxn modelId="{71D11470-7B5B-46A1-B535-62FCBDDE91DF}" srcId="{32BA2C9D-5366-4222-A2AA-D07F5FC3269F}" destId="{ADC73A71-486B-41BE-8A18-890ECBE8CB4E}" srcOrd="4" destOrd="0" parTransId="{22ABCE51-C910-40CB-AC15-F0C63FFA27B4}" sibTransId="{06F06423-BD35-46C1-B286-3032E5F5471B}"/>
    <dgm:cxn modelId="{2813E8D7-EFF5-4022-BBC2-EEE406004B63}" type="presParOf" srcId="{081750B6-7A51-4C24-A430-E1BD63DE81C7}" destId="{3091170B-BD5B-41CD-99AD-51146994FBF8}" srcOrd="0" destOrd="0" presId="urn:microsoft.com/office/officeart/2005/8/layout/hierarchy4"/>
    <dgm:cxn modelId="{87EFDEA0-4F9D-4996-8CC6-2318A5AD7720}" type="presParOf" srcId="{3091170B-BD5B-41CD-99AD-51146994FBF8}" destId="{86B1A0A3-48E9-4F57-8D57-05F7F08AB482}" srcOrd="0" destOrd="0" presId="urn:microsoft.com/office/officeart/2005/8/layout/hierarchy4"/>
    <dgm:cxn modelId="{210A9A1A-C555-4A15-9205-FD5141196D6B}" type="presParOf" srcId="{3091170B-BD5B-41CD-99AD-51146994FBF8}" destId="{ABCDC61A-BF67-4D18-B403-E33794371FDF}" srcOrd="1" destOrd="0" presId="urn:microsoft.com/office/officeart/2005/8/layout/hierarchy4"/>
    <dgm:cxn modelId="{BFE66F8E-9AE1-452A-8248-03FAA37FBBDD}" type="presParOf" srcId="{3091170B-BD5B-41CD-99AD-51146994FBF8}" destId="{B23C2B9D-117C-41EE-8AE1-2F582EC8619F}" srcOrd="2" destOrd="0" presId="urn:microsoft.com/office/officeart/2005/8/layout/hierarchy4"/>
    <dgm:cxn modelId="{8E68FA3B-65DC-4B04-8A63-A0FA4779A429}" type="presParOf" srcId="{B23C2B9D-117C-41EE-8AE1-2F582EC8619F}" destId="{BFCAD502-7C89-4AF8-A0B2-3867FF08F312}" srcOrd="0" destOrd="0" presId="urn:microsoft.com/office/officeart/2005/8/layout/hierarchy4"/>
    <dgm:cxn modelId="{BA616ED3-0ACA-44FB-9A7B-E6B42A447367}" type="presParOf" srcId="{BFCAD502-7C89-4AF8-A0B2-3867FF08F312}" destId="{21DAB75D-C10C-45DC-987C-E6AC35A0B0DD}" srcOrd="0" destOrd="0" presId="urn:microsoft.com/office/officeart/2005/8/layout/hierarchy4"/>
    <dgm:cxn modelId="{81B24F5F-87E6-4CB9-8945-3E1A7520ECB6}" type="presParOf" srcId="{BFCAD502-7C89-4AF8-A0B2-3867FF08F312}" destId="{AD284812-C303-4FA9-B665-A65EC41ECB66}" srcOrd="1" destOrd="0" presId="urn:microsoft.com/office/officeart/2005/8/layout/hierarchy4"/>
    <dgm:cxn modelId="{26ADF610-7C5E-4892-8199-CA33513DA9D7}" type="presParOf" srcId="{B23C2B9D-117C-41EE-8AE1-2F582EC8619F}" destId="{1C9B4528-F554-4933-847C-CCCFF10A6703}" srcOrd="1" destOrd="0" presId="urn:microsoft.com/office/officeart/2005/8/layout/hierarchy4"/>
    <dgm:cxn modelId="{FEFCC53E-8396-487F-8ED3-2565C5E4D283}" type="presParOf" srcId="{B23C2B9D-117C-41EE-8AE1-2F582EC8619F}" destId="{9E9C7380-E983-417B-85FA-89ED78EDD290}" srcOrd="2" destOrd="0" presId="urn:microsoft.com/office/officeart/2005/8/layout/hierarchy4"/>
    <dgm:cxn modelId="{1DC2226B-84AC-474B-9E13-7506A67FC7AE}" type="presParOf" srcId="{9E9C7380-E983-417B-85FA-89ED78EDD290}" destId="{9B54573E-6774-4049-94ED-AF3596DA8C61}" srcOrd="0" destOrd="0" presId="urn:microsoft.com/office/officeart/2005/8/layout/hierarchy4"/>
    <dgm:cxn modelId="{90517101-1B87-42B8-8B67-E4580F8E721D}" type="presParOf" srcId="{9E9C7380-E983-417B-85FA-89ED78EDD290}" destId="{307F9D77-1726-43F4-BA7E-4D7779C4698D}" srcOrd="1" destOrd="0" presId="urn:microsoft.com/office/officeart/2005/8/layout/hierarchy4"/>
    <dgm:cxn modelId="{0197B606-ECDD-4282-99EF-EA538B87D68A}" type="presParOf" srcId="{B23C2B9D-117C-41EE-8AE1-2F582EC8619F}" destId="{41D1CCEF-B014-4D41-AAA8-4EBBD033DAE9}" srcOrd="3" destOrd="0" presId="urn:microsoft.com/office/officeart/2005/8/layout/hierarchy4"/>
    <dgm:cxn modelId="{C947CBF6-479E-4512-834D-F32EB66E804F}" type="presParOf" srcId="{B23C2B9D-117C-41EE-8AE1-2F582EC8619F}" destId="{E547E17A-5D1B-4E4D-9C13-529C84283EA5}" srcOrd="4" destOrd="0" presId="urn:microsoft.com/office/officeart/2005/8/layout/hierarchy4"/>
    <dgm:cxn modelId="{06B13946-0327-455D-9480-71B24CD60CA8}" type="presParOf" srcId="{E547E17A-5D1B-4E4D-9C13-529C84283EA5}" destId="{8A62F0D3-D6D7-4807-8CB0-4C234022C883}" srcOrd="0" destOrd="0" presId="urn:microsoft.com/office/officeart/2005/8/layout/hierarchy4"/>
    <dgm:cxn modelId="{72EB037E-5EB3-419E-A11D-5E79BA3BCA1F}" type="presParOf" srcId="{E547E17A-5D1B-4E4D-9C13-529C84283EA5}" destId="{D5442B6B-DE47-4C07-A9FE-44AD7DAE34AF}" srcOrd="1" destOrd="0" presId="urn:microsoft.com/office/officeart/2005/8/layout/hierarchy4"/>
    <dgm:cxn modelId="{7202E61E-F6F4-42E2-9201-B53CD36F9321}" type="presParOf" srcId="{B23C2B9D-117C-41EE-8AE1-2F582EC8619F}" destId="{405F4A55-A643-49D5-B436-25CDCBB825C2}" srcOrd="5" destOrd="0" presId="urn:microsoft.com/office/officeart/2005/8/layout/hierarchy4"/>
    <dgm:cxn modelId="{5D2C9A40-3727-4765-BE78-4C2904F9CBC8}" type="presParOf" srcId="{B23C2B9D-117C-41EE-8AE1-2F582EC8619F}" destId="{E796EBFB-61CD-4D2E-80F5-5D21358BC88B}" srcOrd="6" destOrd="0" presId="urn:microsoft.com/office/officeart/2005/8/layout/hierarchy4"/>
    <dgm:cxn modelId="{513CAE73-5B91-42EA-8B01-DC17780DEC3F}" type="presParOf" srcId="{E796EBFB-61CD-4D2E-80F5-5D21358BC88B}" destId="{948EBD84-68D7-4A0D-8252-BB3248E96FAD}" srcOrd="0" destOrd="0" presId="urn:microsoft.com/office/officeart/2005/8/layout/hierarchy4"/>
    <dgm:cxn modelId="{AD2AB899-9C98-4723-8784-3F316EFBCDAF}" type="presParOf" srcId="{E796EBFB-61CD-4D2E-80F5-5D21358BC88B}" destId="{0966547F-D3CC-45EA-9A89-8FAE37F8A730}" srcOrd="1" destOrd="0" presId="urn:microsoft.com/office/officeart/2005/8/layout/hierarchy4"/>
    <dgm:cxn modelId="{2F474ECD-1F51-46F1-9499-8C116CE6BD19}" type="presParOf" srcId="{B23C2B9D-117C-41EE-8AE1-2F582EC8619F}" destId="{D45F66BA-52E5-43F6-9748-72BD0DDEEE13}" srcOrd="7" destOrd="0" presId="urn:microsoft.com/office/officeart/2005/8/layout/hierarchy4"/>
    <dgm:cxn modelId="{4893E1D4-5EAD-4E98-95EC-1BA121052A19}" type="presParOf" srcId="{B23C2B9D-117C-41EE-8AE1-2F582EC8619F}" destId="{B341233C-75D6-46B4-A4E9-0C4B85CAE068}" srcOrd="8" destOrd="0" presId="urn:microsoft.com/office/officeart/2005/8/layout/hierarchy4"/>
    <dgm:cxn modelId="{298FAB5F-DAE3-4B59-84E6-78700C1E0462}" type="presParOf" srcId="{B341233C-75D6-46B4-A4E9-0C4B85CAE068}" destId="{6D3C906B-5992-419F-8D9E-B1BADABC6D68}" srcOrd="0" destOrd="0" presId="urn:microsoft.com/office/officeart/2005/8/layout/hierarchy4"/>
    <dgm:cxn modelId="{D9EFF077-7A20-4E9D-B5A2-C082FB6F2F64}" type="presParOf" srcId="{B341233C-75D6-46B4-A4E9-0C4B85CAE068}" destId="{A3C8316E-15FA-4E77-A362-F544A12537B8}" srcOrd="1" destOrd="0" presId="urn:microsoft.com/office/officeart/2005/8/layout/hierarchy4"/>
    <dgm:cxn modelId="{67FA8408-1228-4D46-A484-3259FCF46F90}" type="presParOf" srcId="{B23C2B9D-117C-41EE-8AE1-2F582EC8619F}" destId="{0E71FFB7-4604-438B-B401-588081592E17}" srcOrd="9" destOrd="0" presId="urn:microsoft.com/office/officeart/2005/8/layout/hierarchy4"/>
    <dgm:cxn modelId="{1E075CA8-D8E2-4AB2-84A1-82AF69E10ED9}" type="presParOf" srcId="{B23C2B9D-117C-41EE-8AE1-2F582EC8619F}" destId="{0EB96289-31A4-489F-A29F-F7E7CDD3D6C7}" srcOrd="10" destOrd="0" presId="urn:microsoft.com/office/officeart/2005/8/layout/hierarchy4"/>
    <dgm:cxn modelId="{CB607C73-B4BF-44B4-84E1-99665FBBE44A}" type="presParOf" srcId="{0EB96289-31A4-489F-A29F-F7E7CDD3D6C7}" destId="{9406C6A6-1728-4A4A-BA19-9B504D2C36E1}" srcOrd="0" destOrd="0" presId="urn:microsoft.com/office/officeart/2005/8/layout/hierarchy4"/>
    <dgm:cxn modelId="{2B4C11DE-12A8-4A76-96B7-D11707DCDE7F}" type="presParOf" srcId="{0EB96289-31A4-489F-A29F-F7E7CDD3D6C7}" destId="{34A5315A-11C9-4909-913C-89C07364392A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B0737B4-09F8-4A39-BB53-26B050EFE130}" type="doc">
      <dgm:prSet loTypeId="urn:microsoft.com/office/officeart/2005/8/layout/target2" loCatId="relationship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E2C6BD0-2D22-4D9D-878C-2C37B9791137}">
      <dgm:prSet custT="1"/>
      <dgm:spPr/>
      <dgm:t>
        <a:bodyPr/>
        <a:lstStyle/>
        <a:p>
          <a:pPr algn="l" rtl="0"/>
          <a:endParaRPr lang="en-GB" sz="3600" b="1" dirty="0" smtClean="0">
            <a:solidFill>
              <a:schemeClr val="tx1"/>
            </a:solidFill>
          </a:endParaRPr>
        </a:p>
        <a:p>
          <a:pPr algn="ctr" rtl="0"/>
          <a:r>
            <a:rPr lang="en-GB" sz="3600" b="1" dirty="0" smtClean="0">
              <a:solidFill>
                <a:schemeClr val="tx1"/>
              </a:solidFill>
            </a:rPr>
            <a:t>CONTRAPARTIDAS</a:t>
          </a:r>
          <a:endParaRPr lang="pt-BR" sz="3600" dirty="0">
            <a:solidFill>
              <a:schemeClr val="tx1"/>
            </a:solidFill>
          </a:endParaRPr>
        </a:p>
      </dgm:t>
    </dgm:pt>
    <dgm:pt modelId="{898F4238-82B6-4A9A-87CA-651E22EDB09A}" type="parTrans" cxnId="{F40E4146-3B76-4C28-AA57-9D24644DCA1F}">
      <dgm:prSet/>
      <dgm:spPr/>
      <dgm:t>
        <a:bodyPr/>
        <a:lstStyle/>
        <a:p>
          <a:endParaRPr lang="pt-BR"/>
        </a:p>
      </dgm:t>
    </dgm:pt>
    <dgm:pt modelId="{DF34F7A6-1E19-4DA1-9EC9-2524FB8BCA25}" type="sibTrans" cxnId="{F40E4146-3B76-4C28-AA57-9D24644DCA1F}">
      <dgm:prSet/>
      <dgm:spPr/>
      <dgm:t>
        <a:bodyPr/>
        <a:lstStyle/>
        <a:p>
          <a:endParaRPr lang="pt-BR"/>
        </a:p>
      </dgm:t>
    </dgm:pt>
    <dgm:pt modelId="{CCF07591-EB0B-49AE-AB44-AC7EA5722102}">
      <dgm:prSet/>
      <dgm:spPr/>
      <dgm:t>
        <a:bodyPr/>
        <a:lstStyle/>
        <a:p>
          <a:pPr rtl="0"/>
          <a:r>
            <a:rPr lang="en-GB" dirty="0" err="1" smtClean="0"/>
            <a:t>Investir</a:t>
          </a:r>
          <a:r>
            <a:rPr lang="en-GB" dirty="0" smtClean="0"/>
            <a:t> </a:t>
          </a:r>
          <a:r>
            <a:rPr lang="en-GB" dirty="0" err="1" smtClean="0"/>
            <a:t>em</a:t>
          </a:r>
          <a:r>
            <a:rPr lang="en-GB" dirty="0" smtClean="0"/>
            <a:t> </a:t>
          </a:r>
          <a:r>
            <a:rPr lang="en-GB" b="1" dirty="0" smtClean="0"/>
            <a:t>PD&amp;I</a:t>
          </a:r>
          <a:r>
            <a:rPr lang="en-GB" dirty="0" smtClean="0"/>
            <a:t> (% do </a:t>
          </a:r>
          <a:r>
            <a:rPr lang="en-GB" dirty="0" err="1" smtClean="0"/>
            <a:t>faturamento</a:t>
          </a:r>
          <a:r>
            <a:rPr lang="en-GB" dirty="0" smtClean="0"/>
            <a:t> </a:t>
          </a:r>
          <a:r>
            <a:rPr lang="en-GB" dirty="0" err="1" smtClean="0"/>
            <a:t>em</a:t>
          </a:r>
          <a:r>
            <a:rPr lang="en-GB" dirty="0" smtClean="0"/>
            <a:t> TIC)</a:t>
          </a:r>
          <a:endParaRPr lang="pt-BR" dirty="0"/>
        </a:p>
      </dgm:t>
    </dgm:pt>
    <dgm:pt modelId="{2F271885-D27C-4109-9FE7-75AB6471D104}" type="parTrans" cxnId="{88168366-4BE8-40F9-AE01-03A69A7C55AA}">
      <dgm:prSet/>
      <dgm:spPr/>
      <dgm:t>
        <a:bodyPr/>
        <a:lstStyle/>
        <a:p>
          <a:endParaRPr lang="pt-BR"/>
        </a:p>
      </dgm:t>
    </dgm:pt>
    <dgm:pt modelId="{B8718981-F1AD-47A4-B37A-7711B8556113}" type="sibTrans" cxnId="{88168366-4BE8-40F9-AE01-03A69A7C55AA}">
      <dgm:prSet/>
      <dgm:spPr/>
      <dgm:t>
        <a:bodyPr/>
        <a:lstStyle/>
        <a:p>
          <a:endParaRPr lang="pt-BR"/>
        </a:p>
      </dgm:t>
    </dgm:pt>
    <dgm:pt modelId="{4ADB7BD0-4CFB-41A1-AC43-4CFBD4DD36D1}">
      <dgm:prSet/>
      <dgm:spPr/>
      <dgm:t>
        <a:bodyPr/>
        <a:lstStyle/>
        <a:p>
          <a:pPr rtl="0"/>
          <a:r>
            <a:rPr lang="en-GB" smtClean="0"/>
            <a:t>Produzir com </a:t>
          </a:r>
          <a:r>
            <a:rPr lang="en-GB" b="1" u="sng" smtClean="0"/>
            <a:t>cumprimento do PPB</a:t>
          </a:r>
          <a:endParaRPr lang="pt-BR"/>
        </a:p>
      </dgm:t>
    </dgm:pt>
    <dgm:pt modelId="{73CF7278-CB4D-4D70-A44B-E2A76FC678AA}" type="parTrans" cxnId="{1F0B9700-D35A-48CF-A77E-84E3D961A057}">
      <dgm:prSet/>
      <dgm:spPr/>
      <dgm:t>
        <a:bodyPr/>
        <a:lstStyle/>
        <a:p>
          <a:endParaRPr lang="pt-BR"/>
        </a:p>
      </dgm:t>
    </dgm:pt>
    <dgm:pt modelId="{B1E4AEA1-EED3-4F4D-B239-07D7CBB5232D}" type="sibTrans" cxnId="{1F0B9700-D35A-48CF-A77E-84E3D961A057}">
      <dgm:prSet/>
      <dgm:spPr/>
      <dgm:t>
        <a:bodyPr/>
        <a:lstStyle/>
        <a:p>
          <a:endParaRPr lang="pt-BR"/>
        </a:p>
      </dgm:t>
    </dgm:pt>
    <dgm:pt modelId="{9E506DCE-42CA-42AE-8D69-285737D34026}">
      <dgm:prSet/>
      <dgm:spPr/>
      <dgm:t>
        <a:bodyPr/>
        <a:lstStyle/>
        <a:p>
          <a:pPr rtl="0"/>
          <a:r>
            <a:rPr lang="en-GB" smtClean="0"/>
            <a:t>Implantar </a:t>
          </a:r>
          <a:r>
            <a:rPr lang="en-GB" b="1" smtClean="0"/>
            <a:t>Sistema da Qualidade</a:t>
          </a:r>
          <a:endParaRPr lang="pt-BR"/>
        </a:p>
      </dgm:t>
    </dgm:pt>
    <dgm:pt modelId="{C443483F-2AB0-4C7C-A7D1-73D3DB7C21C6}" type="parTrans" cxnId="{9F96B664-B1ED-4B7F-86D4-81D5840ABEC8}">
      <dgm:prSet/>
      <dgm:spPr/>
      <dgm:t>
        <a:bodyPr/>
        <a:lstStyle/>
        <a:p>
          <a:endParaRPr lang="pt-BR"/>
        </a:p>
      </dgm:t>
    </dgm:pt>
    <dgm:pt modelId="{9C03331D-5B97-4668-A5A0-9678D37ABFF1}" type="sibTrans" cxnId="{9F96B664-B1ED-4B7F-86D4-81D5840ABEC8}">
      <dgm:prSet/>
      <dgm:spPr/>
      <dgm:t>
        <a:bodyPr/>
        <a:lstStyle/>
        <a:p>
          <a:endParaRPr lang="pt-BR"/>
        </a:p>
      </dgm:t>
    </dgm:pt>
    <dgm:pt modelId="{CF79FF47-8484-4FE8-BDBC-D62D10D33967}">
      <dgm:prSet/>
      <dgm:spPr/>
      <dgm:t>
        <a:bodyPr/>
        <a:lstStyle/>
        <a:p>
          <a:pPr rtl="0"/>
          <a:r>
            <a:rPr lang="en-GB" smtClean="0"/>
            <a:t>Programa de </a:t>
          </a:r>
          <a:r>
            <a:rPr lang="en-GB" b="1" smtClean="0"/>
            <a:t>participação </a:t>
          </a:r>
          <a:r>
            <a:rPr lang="en-GB" smtClean="0"/>
            <a:t>dos trabalhadores nos </a:t>
          </a:r>
          <a:r>
            <a:rPr lang="en-GB" b="1" smtClean="0"/>
            <a:t>lucros</a:t>
          </a:r>
          <a:r>
            <a:rPr lang="en-GB" smtClean="0"/>
            <a:t> ou resultados da empresa</a:t>
          </a:r>
          <a:endParaRPr lang="pt-BR"/>
        </a:p>
      </dgm:t>
    </dgm:pt>
    <dgm:pt modelId="{D6DAEBF2-49B1-44C2-9F46-74A6BCA0CC71}" type="parTrans" cxnId="{8D2B28CD-B7DA-499B-BD7A-4F841D9FF91C}">
      <dgm:prSet/>
      <dgm:spPr/>
      <dgm:t>
        <a:bodyPr/>
        <a:lstStyle/>
        <a:p>
          <a:endParaRPr lang="pt-BR"/>
        </a:p>
      </dgm:t>
    </dgm:pt>
    <dgm:pt modelId="{D3D116C0-C4C8-4687-B009-F45B38AB141A}" type="sibTrans" cxnId="{8D2B28CD-B7DA-499B-BD7A-4F841D9FF91C}">
      <dgm:prSet/>
      <dgm:spPr/>
      <dgm:t>
        <a:bodyPr/>
        <a:lstStyle/>
        <a:p>
          <a:endParaRPr lang="pt-BR"/>
        </a:p>
      </dgm:t>
    </dgm:pt>
    <dgm:pt modelId="{4912569D-EF71-4131-B780-4827528BDCD8}">
      <dgm:prSet/>
      <dgm:spPr/>
      <dgm:t>
        <a:bodyPr/>
        <a:lstStyle/>
        <a:p>
          <a:pPr rtl="0"/>
          <a:r>
            <a:rPr lang="en-GB" b="1" dirty="0" err="1" smtClean="0"/>
            <a:t>Regularidade</a:t>
          </a:r>
          <a:r>
            <a:rPr lang="en-GB" b="1" dirty="0" smtClean="0"/>
            <a:t> fiscal </a:t>
          </a:r>
          <a:r>
            <a:rPr lang="en-GB" dirty="0" smtClean="0"/>
            <a:t>(INSS, FGTS, RFB/PGFN, </a:t>
          </a:r>
          <a:r>
            <a:rPr lang="en-GB" dirty="0" err="1" smtClean="0"/>
            <a:t>Cadin</a:t>
          </a:r>
          <a:r>
            <a:rPr lang="en-GB" dirty="0" smtClean="0"/>
            <a:t>)</a:t>
          </a:r>
          <a:endParaRPr lang="pt-BR" dirty="0"/>
        </a:p>
      </dgm:t>
    </dgm:pt>
    <dgm:pt modelId="{71A68B80-01D0-4151-89F6-EC33D289FFCB}" type="parTrans" cxnId="{4BB62B41-233A-41EA-BA58-0F3CDF88ABF7}">
      <dgm:prSet/>
      <dgm:spPr/>
      <dgm:t>
        <a:bodyPr/>
        <a:lstStyle/>
        <a:p>
          <a:endParaRPr lang="pt-BR"/>
        </a:p>
      </dgm:t>
    </dgm:pt>
    <dgm:pt modelId="{AEFDC0E3-46C5-4A7A-B8EB-E7577A7EA6A1}" type="sibTrans" cxnId="{4BB62B41-233A-41EA-BA58-0F3CDF88ABF7}">
      <dgm:prSet/>
      <dgm:spPr/>
      <dgm:t>
        <a:bodyPr/>
        <a:lstStyle/>
        <a:p>
          <a:endParaRPr lang="pt-BR"/>
        </a:p>
      </dgm:t>
    </dgm:pt>
    <dgm:pt modelId="{7AC42A70-D81F-4461-80D4-A5133101A4CE}" type="pres">
      <dgm:prSet presAssocID="{AB0737B4-09F8-4A39-BB53-26B050EFE130}" presName="Name0" presStyleCnt="0">
        <dgm:presLayoutVars>
          <dgm:chMax val="3"/>
          <dgm:chPref val="1"/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E493FEC0-1B33-44F1-8388-CA1D0BEA7F3C}" type="pres">
      <dgm:prSet presAssocID="{AB0737B4-09F8-4A39-BB53-26B050EFE130}" presName="outerBox" presStyleCnt="0"/>
      <dgm:spPr/>
    </dgm:pt>
    <dgm:pt modelId="{B602EEF4-6771-4AD2-B560-4AB45710B0BF}" type="pres">
      <dgm:prSet presAssocID="{AB0737B4-09F8-4A39-BB53-26B050EFE130}" presName="outerBoxParent" presStyleLbl="node1" presStyleIdx="0" presStyleCnt="1" custLinFactX="19359" custLinFactNeighborX="100000" custLinFactNeighborY="-3701"/>
      <dgm:spPr/>
      <dgm:t>
        <a:bodyPr/>
        <a:lstStyle/>
        <a:p>
          <a:endParaRPr lang="pt-BR"/>
        </a:p>
      </dgm:t>
    </dgm:pt>
    <dgm:pt modelId="{8CA8E1FD-4354-469A-B7A3-F3E5BAA399A0}" type="pres">
      <dgm:prSet presAssocID="{AB0737B4-09F8-4A39-BB53-26B050EFE130}" presName="outerBoxChildren" presStyleCnt="0"/>
      <dgm:spPr/>
    </dgm:pt>
    <dgm:pt modelId="{03E3C746-426C-4759-BEED-A2D75EAF2CFF}" type="pres">
      <dgm:prSet presAssocID="{CCF07591-EB0B-49AE-AB44-AC7EA5722102}" presName="oChild" presStyleLbl="fgAcc1" presStyleIdx="0" presStyleCnt="5" custLinFactX="73" custLinFactNeighborX="100000" custLinFactNeighborY="1486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DF134E6-9948-4A1F-AA55-996F800DE41C}" type="pres">
      <dgm:prSet presAssocID="{B8718981-F1AD-47A4-B37A-7711B8556113}" presName="outerSibTrans" presStyleCnt="0"/>
      <dgm:spPr/>
    </dgm:pt>
    <dgm:pt modelId="{EA563A4C-0FDD-4744-BA9A-C6CD8A90578F}" type="pres">
      <dgm:prSet presAssocID="{4ADB7BD0-4CFB-41A1-AC43-4CFBD4DD36D1}" presName="oChild" presStyleLbl="fgAcc1" presStyleIdx="1" presStyleCnt="5" custLinFactX="73" custLinFactNeighborX="100000" custLinFactNeighborY="1486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9098F7A-447F-4E85-9BEB-F01FB01D53D6}" type="pres">
      <dgm:prSet presAssocID="{B1E4AEA1-EED3-4F4D-B239-07D7CBB5232D}" presName="outerSibTrans" presStyleCnt="0"/>
      <dgm:spPr/>
    </dgm:pt>
    <dgm:pt modelId="{E6A1D770-46B2-46A8-9BF2-85906C135CC9}" type="pres">
      <dgm:prSet presAssocID="{9E506DCE-42CA-42AE-8D69-285737D34026}" presName="oChild" presStyleLbl="fgAcc1" presStyleIdx="2" presStyleCnt="5" custLinFactX="73" custLinFactNeighborX="100000" custLinFactNeighborY="1486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5B5309-6C8B-4C28-9664-FA44B67F81DF}" type="pres">
      <dgm:prSet presAssocID="{9C03331D-5B97-4668-A5A0-9678D37ABFF1}" presName="outerSibTrans" presStyleCnt="0"/>
      <dgm:spPr/>
    </dgm:pt>
    <dgm:pt modelId="{D5CC1BE0-8F35-4D4A-8521-ABB5B57237BA}" type="pres">
      <dgm:prSet presAssocID="{CF79FF47-8484-4FE8-BDBC-D62D10D33967}" presName="oChild" presStyleLbl="fgAcc1" presStyleIdx="3" presStyleCnt="5" custLinFactX="73" custLinFactNeighborX="100000" custLinFactNeighborY="1486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B0A1619-5BB6-44B9-B16B-51ABAC537684}" type="pres">
      <dgm:prSet presAssocID="{D3D116C0-C4C8-4687-B009-F45B38AB141A}" presName="outerSibTrans" presStyleCnt="0"/>
      <dgm:spPr/>
    </dgm:pt>
    <dgm:pt modelId="{33ACE099-6987-4237-9631-2C5E1D898B46}" type="pres">
      <dgm:prSet presAssocID="{4912569D-EF71-4131-B780-4827528BDCD8}" presName="oChild" presStyleLbl="fgAcc1" presStyleIdx="4" presStyleCnt="5" custLinFactX="73" custLinFactNeighborX="100000" custLinFactNeighborY="1486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BE620D24-E39C-4281-A5EF-AF881EBC90A8}" type="presOf" srcId="{4912569D-EF71-4131-B780-4827528BDCD8}" destId="{33ACE099-6987-4237-9631-2C5E1D898B46}" srcOrd="0" destOrd="0" presId="urn:microsoft.com/office/officeart/2005/8/layout/target2"/>
    <dgm:cxn modelId="{88168366-4BE8-40F9-AE01-03A69A7C55AA}" srcId="{7E2C6BD0-2D22-4D9D-878C-2C37B9791137}" destId="{CCF07591-EB0B-49AE-AB44-AC7EA5722102}" srcOrd="0" destOrd="0" parTransId="{2F271885-D27C-4109-9FE7-75AB6471D104}" sibTransId="{B8718981-F1AD-47A4-B37A-7711B8556113}"/>
    <dgm:cxn modelId="{7B3E18BA-D97B-4C69-825C-94083EFDC510}" type="presOf" srcId="{4ADB7BD0-4CFB-41A1-AC43-4CFBD4DD36D1}" destId="{EA563A4C-0FDD-4744-BA9A-C6CD8A90578F}" srcOrd="0" destOrd="0" presId="urn:microsoft.com/office/officeart/2005/8/layout/target2"/>
    <dgm:cxn modelId="{AAA11C04-8E5B-4067-ACC7-81F5E453D1CC}" type="presOf" srcId="{9E506DCE-42CA-42AE-8D69-285737D34026}" destId="{E6A1D770-46B2-46A8-9BF2-85906C135CC9}" srcOrd="0" destOrd="0" presId="urn:microsoft.com/office/officeart/2005/8/layout/target2"/>
    <dgm:cxn modelId="{9F96B664-B1ED-4B7F-86D4-81D5840ABEC8}" srcId="{7E2C6BD0-2D22-4D9D-878C-2C37B9791137}" destId="{9E506DCE-42CA-42AE-8D69-285737D34026}" srcOrd="2" destOrd="0" parTransId="{C443483F-2AB0-4C7C-A7D1-73D3DB7C21C6}" sibTransId="{9C03331D-5B97-4668-A5A0-9678D37ABFF1}"/>
    <dgm:cxn modelId="{1F0B9700-D35A-48CF-A77E-84E3D961A057}" srcId="{7E2C6BD0-2D22-4D9D-878C-2C37B9791137}" destId="{4ADB7BD0-4CFB-41A1-AC43-4CFBD4DD36D1}" srcOrd="1" destOrd="0" parTransId="{73CF7278-CB4D-4D70-A44B-E2A76FC678AA}" sibTransId="{B1E4AEA1-EED3-4F4D-B239-07D7CBB5232D}"/>
    <dgm:cxn modelId="{4BB62B41-233A-41EA-BA58-0F3CDF88ABF7}" srcId="{7E2C6BD0-2D22-4D9D-878C-2C37B9791137}" destId="{4912569D-EF71-4131-B780-4827528BDCD8}" srcOrd="4" destOrd="0" parTransId="{71A68B80-01D0-4151-89F6-EC33D289FFCB}" sibTransId="{AEFDC0E3-46C5-4A7A-B8EB-E7577A7EA6A1}"/>
    <dgm:cxn modelId="{F40E4146-3B76-4C28-AA57-9D24644DCA1F}" srcId="{AB0737B4-09F8-4A39-BB53-26B050EFE130}" destId="{7E2C6BD0-2D22-4D9D-878C-2C37B9791137}" srcOrd="0" destOrd="0" parTransId="{898F4238-82B6-4A9A-87CA-651E22EDB09A}" sibTransId="{DF34F7A6-1E19-4DA1-9EC9-2524FB8BCA25}"/>
    <dgm:cxn modelId="{2F019B68-7037-4E9A-9F3E-328187D6DC7E}" type="presOf" srcId="{CF79FF47-8484-4FE8-BDBC-D62D10D33967}" destId="{D5CC1BE0-8F35-4D4A-8521-ABB5B57237BA}" srcOrd="0" destOrd="0" presId="urn:microsoft.com/office/officeart/2005/8/layout/target2"/>
    <dgm:cxn modelId="{F77ABA7A-3495-4753-99AD-F276CDC9A70B}" type="presOf" srcId="{AB0737B4-09F8-4A39-BB53-26B050EFE130}" destId="{7AC42A70-D81F-4461-80D4-A5133101A4CE}" srcOrd="0" destOrd="0" presId="urn:microsoft.com/office/officeart/2005/8/layout/target2"/>
    <dgm:cxn modelId="{8D2B28CD-B7DA-499B-BD7A-4F841D9FF91C}" srcId="{7E2C6BD0-2D22-4D9D-878C-2C37B9791137}" destId="{CF79FF47-8484-4FE8-BDBC-D62D10D33967}" srcOrd="3" destOrd="0" parTransId="{D6DAEBF2-49B1-44C2-9F46-74A6BCA0CC71}" sibTransId="{D3D116C0-C4C8-4687-B009-F45B38AB141A}"/>
    <dgm:cxn modelId="{DF6A1CCB-9B1E-4D4C-B633-60258FCDC2FD}" type="presOf" srcId="{7E2C6BD0-2D22-4D9D-878C-2C37B9791137}" destId="{B602EEF4-6771-4AD2-B560-4AB45710B0BF}" srcOrd="0" destOrd="0" presId="urn:microsoft.com/office/officeart/2005/8/layout/target2"/>
    <dgm:cxn modelId="{377BEB9F-4473-4634-AA84-8F62C6BE4C71}" type="presOf" srcId="{CCF07591-EB0B-49AE-AB44-AC7EA5722102}" destId="{03E3C746-426C-4759-BEED-A2D75EAF2CFF}" srcOrd="0" destOrd="0" presId="urn:microsoft.com/office/officeart/2005/8/layout/target2"/>
    <dgm:cxn modelId="{15D5B163-D6DE-4267-A67A-E9E52E829295}" type="presParOf" srcId="{7AC42A70-D81F-4461-80D4-A5133101A4CE}" destId="{E493FEC0-1B33-44F1-8388-CA1D0BEA7F3C}" srcOrd="0" destOrd="0" presId="urn:microsoft.com/office/officeart/2005/8/layout/target2"/>
    <dgm:cxn modelId="{15824A1F-578D-44EA-A151-9397A5A1C722}" type="presParOf" srcId="{E493FEC0-1B33-44F1-8388-CA1D0BEA7F3C}" destId="{B602EEF4-6771-4AD2-B560-4AB45710B0BF}" srcOrd="0" destOrd="0" presId="urn:microsoft.com/office/officeart/2005/8/layout/target2"/>
    <dgm:cxn modelId="{46279270-5D46-4511-A3E0-EE62B54F6DA0}" type="presParOf" srcId="{E493FEC0-1B33-44F1-8388-CA1D0BEA7F3C}" destId="{8CA8E1FD-4354-469A-B7A3-F3E5BAA399A0}" srcOrd="1" destOrd="0" presId="urn:microsoft.com/office/officeart/2005/8/layout/target2"/>
    <dgm:cxn modelId="{81755E38-E61F-4491-9A58-B11220A337C0}" type="presParOf" srcId="{8CA8E1FD-4354-469A-B7A3-F3E5BAA399A0}" destId="{03E3C746-426C-4759-BEED-A2D75EAF2CFF}" srcOrd="0" destOrd="0" presId="urn:microsoft.com/office/officeart/2005/8/layout/target2"/>
    <dgm:cxn modelId="{4A22AD15-3100-44B3-B3F7-2C40AFBE83A6}" type="presParOf" srcId="{8CA8E1FD-4354-469A-B7A3-F3E5BAA399A0}" destId="{5DF134E6-9948-4A1F-AA55-996F800DE41C}" srcOrd="1" destOrd="0" presId="urn:microsoft.com/office/officeart/2005/8/layout/target2"/>
    <dgm:cxn modelId="{1E5127FB-F658-45CF-94B4-9795FEA0D3F3}" type="presParOf" srcId="{8CA8E1FD-4354-469A-B7A3-F3E5BAA399A0}" destId="{EA563A4C-0FDD-4744-BA9A-C6CD8A90578F}" srcOrd="2" destOrd="0" presId="urn:microsoft.com/office/officeart/2005/8/layout/target2"/>
    <dgm:cxn modelId="{FA60E663-94B3-4FF7-B2C7-E83AA39F52E1}" type="presParOf" srcId="{8CA8E1FD-4354-469A-B7A3-F3E5BAA399A0}" destId="{89098F7A-447F-4E85-9BEB-F01FB01D53D6}" srcOrd="3" destOrd="0" presId="urn:microsoft.com/office/officeart/2005/8/layout/target2"/>
    <dgm:cxn modelId="{84BE5B31-0500-493B-AAE5-14CC24F7E5F0}" type="presParOf" srcId="{8CA8E1FD-4354-469A-B7A3-F3E5BAA399A0}" destId="{E6A1D770-46B2-46A8-9BF2-85906C135CC9}" srcOrd="4" destOrd="0" presId="urn:microsoft.com/office/officeart/2005/8/layout/target2"/>
    <dgm:cxn modelId="{2BFBB3B0-329E-4576-8B16-5C35EBF66D23}" type="presParOf" srcId="{8CA8E1FD-4354-469A-B7A3-F3E5BAA399A0}" destId="{0D5B5309-6C8B-4C28-9664-FA44B67F81DF}" srcOrd="5" destOrd="0" presId="urn:microsoft.com/office/officeart/2005/8/layout/target2"/>
    <dgm:cxn modelId="{6FFA6929-7E71-42D2-BB2A-C22FCB35369A}" type="presParOf" srcId="{8CA8E1FD-4354-469A-B7A3-F3E5BAA399A0}" destId="{D5CC1BE0-8F35-4D4A-8521-ABB5B57237BA}" srcOrd="6" destOrd="0" presId="urn:microsoft.com/office/officeart/2005/8/layout/target2"/>
    <dgm:cxn modelId="{2D348B21-DA3B-44CF-87AF-E95719143E70}" type="presParOf" srcId="{8CA8E1FD-4354-469A-B7A3-F3E5BAA399A0}" destId="{AB0A1619-5BB6-44B9-B16B-51ABAC537684}" srcOrd="7" destOrd="0" presId="urn:microsoft.com/office/officeart/2005/8/layout/target2"/>
    <dgm:cxn modelId="{33845583-731D-4A64-890F-ECB204C0F652}" type="presParOf" srcId="{8CA8E1FD-4354-469A-B7A3-F3E5BAA399A0}" destId="{33ACE099-6987-4237-9631-2C5E1D898B46}" srcOrd="8" destOrd="0" presId="urn:microsoft.com/office/officeart/2005/8/layout/targe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673AF29-5BC9-46A3-A88F-280437C4910E}" type="doc">
      <dgm:prSet loTypeId="urn:microsoft.com/office/officeart/2005/8/layout/hList3" loCatId="list" qsTypeId="urn:microsoft.com/office/officeart/2005/8/quickstyle/simple3" qsCatId="simple" csTypeId="urn:microsoft.com/office/officeart/2005/8/colors/accent1_5" csCatId="accent1" phldr="1"/>
      <dgm:spPr/>
      <dgm:t>
        <a:bodyPr/>
        <a:lstStyle/>
        <a:p>
          <a:endParaRPr lang="pt-BR"/>
        </a:p>
      </dgm:t>
    </dgm:pt>
    <dgm:pt modelId="{DF386ADB-5496-4613-BA27-01607FE65A50}">
      <dgm:prSet custT="1"/>
      <dgm:spPr/>
      <dgm:t>
        <a:bodyPr/>
        <a:lstStyle/>
        <a:p>
          <a:pPr rtl="0"/>
          <a:r>
            <a:rPr lang="pt-BR" sz="4000" dirty="0" smtClean="0"/>
            <a:t>Projetos PD&amp;I - MCTI</a:t>
          </a:r>
          <a:endParaRPr lang="pt-BR" sz="4000" dirty="0"/>
        </a:p>
      </dgm:t>
    </dgm:pt>
    <dgm:pt modelId="{E2DC32CE-6071-4AD8-B370-46061D5755C5}" type="parTrans" cxnId="{CC809F62-686C-4BEC-87F6-37049E9191E2}">
      <dgm:prSet/>
      <dgm:spPr/>
      <dgm:t>
        <a:bodyPr/>
        <a:lstStyle/>
        <a:p>
          <a:endParaRPr lang="pt-BR"/>
        </a:p>
      </dgm:t>
    </dgm:pt>
    <dgm:pt modelId="{39DED33B-CDEB-4D0F-9218-2659AD629744}" type="sibTrans" cxnId="{CC809F62-686C-4BEC-87F6-37049E9191E2}">
      <dgm:prSet/>
      <dgm:spPr/>
      <dgm:t>
        <a:bodyPr/>
        <a:lstStyle/>
        <a:p>
          <a:endParaRPr lang="pt-BR"/>
        </a:p>
      </dgm:t>
    </dgm:pt>
    <dgm:pt modelId="{89FE751C-BEEE-4B1F-9853-DB2E33BCDC97}">
      <dgm:prSet/>
      <dgm:spPr/>
      <dgm:t>
        <a:bodyPr/>
        <a:lstStyle/>
        <a:p>
          <a:pPr rtl="0"/>
          <a:r>
            <a:rPr lang="pt-BR" dirty="0" smtClean="0">
              <a:latin typeface="Arial" panose="020B0604020202020204" pitchFamily="34" charset="0"/>
              <a:cs typeface="Arial" panose="020B0604020202020204" pitchFamily="34" charset="0"/>
            </a:rPr>
            <a:t>Projeto 5G – IoT</a:t>
          </a:r>
        </a:p>
      </dgm:t>
    </dgm:pt>
    <dgm:pt modelId="{DF2B8F98-0C96-4C7F-BD37-829434A2C98F}" type="parTrans" cxnId="{4AFFBCB9-E808-4CD5-8887-94021C814B3C}">
      <dgm:prSet/>
      <dgm:spPr/>
      <dgm:t>
        <a:bodyPr/>
        <a:lstStyle/>
        <a:p>
          <a:endParaRPr lang="pt-BR"/>
        </a:p>
      </dgm:t>
    </dgm:pt>
    <dgm:pt modelId="{69D718B4-3F1F-4283-B153-E582A2AD3087}" type="sibTrans" cxnId="{4AFFBCB9-E808-4CD5-8887-94021C814B3C}">
      <dgm:prSet/>
      <dgm:spPr/>
      <dgm:t>
        <a:bodyPr/>
        <a:lstStyle/>
        <a:p>
          <a:endParaRPr lang="pt-BR"/>
        </a:p>
      </dgm:t>
    </dgm:pt>
    <dgm:pt modelId="{FF3A02E3-4E1E-4819-8092-D7A8583E4577}">
      <dgm:prSet/>
      <dgm:spPr/>
      <dgm:t>
        <a:bodyPr/>
        <a:lstStyle/>
        <a:p>
          <a:pPr rtl="0"/>
          <a:r>
            <a:rPr lang="pt-BR" dirty="0" smtClean="0"/>
            <a:t>Projeto BRASIL5G</a:t>
          </a:r>
          <a:endParaRPr lang="pt-BR" dirty="0"/>
        </a:p>
      </dgm:t>
    </dgm:pt>
    <dgm:pt modelId="{FA669A21-5898-4D72-A279-1ACE733646C6}" type="parTrans" cxnId="{1D924E98-0CE7-4568-86AC-DDF1689087FF}">
      <dgm:prSet/>
      <dgm:spPr/>
      <dgm:t>
        <a:bodyPr/>
        <a:lstStyle/>
        <a:p>
          <a:endParaRPr lang="pt-BR"/>
        </a:p>
      </dgm:t>
    </dgm:pt>
    <dgm:pt modelId="{57A7FAF7-EB94-4ADA-BBA7-28962028340B}" type="sibTrans" cxnId="{1D924E98-0CE7-4568-86AC-DDF1689087FF}">
      <dgm:prSet/>
      <dgm:spPr/>
      <dgm:t>
        <a:bodyPr/>
        <a:lstStyle/>
        <a:p>
          <a:endParaRPr lang="pt-BR"/>
        </a:p>
      </dgm:t>
    </dgm:pt>
    <dgm:pt modelId="{B312127D-4BBA-443B-BBA7-047A42B75F24}">
      <dgm:prSet/>
      <dgm:spPr/>
      <dgm:t>
        <a:bodyPr/>
        <a:lstStyle/>
        <a:p>
          <a:pPr rtl="0"/>
          <a:r>
            <a:rPr lang="pt-BR" smtClean="0">
              <a:latin typeface="Arial" panose="020B0604020202020204" pitchFamily="34" charset="0"/>
              <a:cs typeface="Arial" panose="020B0604020202020204" pitchFamily="34" charset="0"/>
            </a:rPr>
            <a:t>Projeto PPI </a:t>
          </a:r>
          <a:r>
            <a:rPr lang="pt-BR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 </a:t>
          </a:r>
          <a:r>
            <a:rPr lang="pt-BR" smtClean="0">
              <a:latin typeface="Arial" panose="020B0604020202020204" pitchFamily="34" charset="0"/>
              <a:cs typeface="Arial" panose="020B0604020202020204" pitchFamily="34" charset="0"/>
            </a:rPr>
            <a:t>P&amp;D focado em aplicações e serviços combinando 5G-IoT</a:t>
          </a:r>
          <a:endParaRPr lang="pt-BR" dirty="0" smtClean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30177E9-547F-4A69-B40D-DF716D249BAA}" type="parTrans" cxnId="{E79B1B2A-D75C-4E4E-915C-FC27C5A4684D}">
      <dgm:prSet/>
      <dgm:spPr/>
      <dgm:t>
        <a:bodyPr/>
        <a:lstStyle/>
        <a:p>
          <a:endParaRPr lang="pt-BR"/>
        </a:p>
      </dgm:t>
    </dgm:pt>
    <dgm:pt modelId="{95EE5063-D3A4-49C5-93EB-28692BCCD71D}" type="sibTrans" cxnId="{E79B1B2A-D75C-4E4E-915C-FC27C5A4684D}">
      <dgm:prSet/>
      <dgm:spPr/>
      <dgm:t>
        <a:bodyPr/>
        <a:lstStyle/>
        <a:p>
          <a:endParaRPr lang="pt-BR"/>
        </a:p>
      </dgm:t>
    </dgm:pt>
    <dgm:pt modelId="{5FEC7250-91B6-4D22-9691-95E4F812742A}">
      <dgm:prSet/>
      <dgm:spPr/>
      <dgm:t>
        <a:bodyPr/>
        <a:lstStyle/>
        <a:p>
          <a:pPr rtl="0"/>
          <a:r>
            <a:rPr lang="pt-BR" smtClean="0">
              <a:latin typeface="Arial" panose="020B0604020202020204" pitchFamily="34" charset="0"/>
              <a:cs typeface="Arial" panose="020B0604020202020204" pitchFamily="34" charset="0"/>
            </a:rPr>
            <a:t>Coordenação: RNP</a:t>
          </a:r>
          <a:endParaRPr lang="pt-BR" dirty="0" smtClean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2C60FFE-D359-405E-A0B2-099B8C7C319E}" type="parTrans" cxnId="{B9AE57F6-388D-45B6-B235-1FBD72D0CE39}">
      <dgm:prSet/>
      <dgm:spPr/>
      <dgm:t>
        <a:bodyPr/>
        <a:lstStyle/>
        <a:p>
          <a:endParaRPr lang="pt-BR"/>
        </a:p>
      </dgm:t>
    </dgm:pt>
    <dgm:pt modelId="{461F3DCE-7C8C-4BE9-93AE-B030CA64D199}" type="sibTrans" cxnId="{B9AE57F6-388D-45B6-B235-1FBD72D0CE39}">
      <dgm:prSet/>
      <dgm:spPr/>
      <dgm:t>
        <a:bodyPr/>
        <a:lstStyle/>
        <a:p>
          <a:endParaRPr lang="pt-BR"/>
        </a:p>
      </dgm:t>
    </dgm:pt>
    <dgm:pt modelId="{5C77138F-88C0-42FE-9E7C-66DEEC86BB26}">
      <dgm:prSet/>
      <dgm:spPr/>
      <dgm:t>
        <a:bodyPr/>
        <a:lstStyle/>
        <a:p>
          <a:pPr rtl="0"/>
          <a:r>
            <a:rPr lang="pt-BR" smtClean="0">
              <a:latin typeface="Arial" panose="020B0604020202020204" pitchFamily="34" charset="0"/>
              <a:cs typeface="Arial" panose="020B0604020202020204" pitchFamily="34" charset="0"/>
            </a:rPr>
            <a:t>ICTs: Inatel, UnB e UFG</a:t>
          </a:r>
          <a:endParaRPr lang="pt-BR" dirty="0" smtClean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BA16FB6-634B-404B-97D9-D45451BC1002}" type="parTrans" cxnId="{05BDD10B-48A2-4E0C-B746-17389A3A4362}">
      <dgm:prSet/>
      <dgm:spPr/>
      <dgm:t>
        <a:bodyPr/>
        <a:lstStyle/>
        <a:p>
          <a:endParaRPr lang="pt-BR"/>
        </a:p>
      </dgm:t>
    </dgm:pt>
    <dgm:pt modelId="{D066E353-ECBC-415F-BBE9-3FD510BEDD5F}" type="sibTrans" cxnId="{05BDD10B-48A2-4E0C-B746-17389A3A4362}">
      <dgm:prSet/>
      <dgm:spPr/>
      <dgm:t>
        <a:bodyPr/>
        <a:lstStyle/>
        <a:p>
          <a:endParaRPr lang="pt-BR"/>
        </a:p>
      </dgm:t>
    </dgm:pt>
    <dgm:pt modelId="{F1121EFD-E9E1-4505-9956-19511E8A0F73}">
      <dgm:prSet/>
      <dgm:spPr/>
      <dgm:t>
        <a:bodyPr/>
        <a:lstStyle/>
        <a:p>
          <a:pPr rtl="0"/>
          <a:r>
            <a:rPr lang="pt-BR" smtClean="0">
              <a:latin typeface="Arial" panose="020B0604020202020204" pitchFamily="34" charset="0"/>
              <a:cs typeface="Arial" panose="020B0604020202020204" pitchFamily="34" charset="0"/>
            </a:rPr>
            <a:t>Valor: R$ 6,2M</a:t>
          </a:r>
          <a:endParaRPr lang="pt-BR" dirty="0" smtClean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5C4AAB2-F5AE-4BF2-9107-5BD2CC701115}" type="parTrans" cxnId="{AA260F1A-A414-4111-88E1-A18C8FF1C9D5}">
      <dgm:prSet/>
      <dgm:spPr/>
      <dgm:t>
        <a:bodyPr/>
        <a:lstStyle/>
        <a:p>
          <a:endParaRPr lang="pt-BR"/>
        </a:p>
      </dgm:t>
    </dgm:pt>
    <dgm:pt modelId="{88B6905D-4E8F-4307-A8B9-2B0413C9BF74}" type="sibTrans" cxnId="{AA260F1A-A414-4111-88E1-A18C8FF1C9D5}">
      <dgm:prSet/>
      <dgm:spPr/>
      <dgm:t>
        <a:bodyPr/>
        <a:lstStyle/>
        <a:p>
          <a:endParaRPr lang="pt-BR"/>
        </a:p>
      </dgm:t>
    </dgm:pt>
    <dgm:pt modelId="{5D035894-D7C9-4236-BD1E-EDAF49ED1103}">
      <dgm:prSet/>
      <dgm:spPr/>
      <dgm:t>
        <a:bodyPr/>
        <a:lstStyle/>
        <a:p>
          <a:pPr rtl="0"/>
          <a:r>
            <a:rPr lang="pt-BR" dirty="0" smtClean="0"/>
            <a:t>Apoio à promoção e divulgação de pesquisas relacionadas ao 5G</a:t>
          </a:r>
          <a:endParaRPr lang="pt-BR" dirty="0"/>
        </a:p>
      </dgm:t>
    </dgm:pt>
    <dgm:pt modelId="{A095A3E5-A0F8-405E-AE36-0095FA629D2D}" type="parTrans" cxnId="{8EF3DCD4-7C74-48B6-8B53-E5BC1CE9432A}">
      <dgm:prSet/>
      <dgm:spPr/>
      <dgm:t>
        <a:bodyPr/>
        <a:lstStyle/>
        <a:p>
          <a:endParaRPr lang="pt-BR"/>
        </a:p>
      </dgm:t>
    </dgm:pt>
    <dgm:pt modelId="{15DE51C6-4EBE-4325-A31A-8DD3623005D0}" type="sibTrans" cxnId="{8EF3DCD4-7C74-48B6-8B53-E5BC1CE9432A}">
      <dgm:prSet/>
      <dgm:spPr/>
      <dgm:t>
        <a:bodyPr/>
        <a:lstStyle/>
        <a:p>
          <a:endParaRPr lang="pt-BR"/>
        </a:p>
      </dgm:t>
    </dgm:pt>
    <dgm:pt modelId="{0A8BF5B6-FE4E-4BBA-900F-FD0E12B611DA}">
      <dgm:prSet/>
      <dgm:spPr/>
      <dgm:t>
        <a:bodyPr/>
        <a:lstStyle/>
        <a:p>
          <a:pPr rtl="0"/>
          <a:r>
            <a:rPr lang="pt-BR" dirty="0" smtClean="0"/>
            <a:t>Coordenação: UFU</a:t>
          </a:r>
          <a:endParaRPr lang="pt-BR" dirty="0"/>
        </a:p>
      </dgm:t>
    </dgm:pt>
    <dgm:pt modelId="{F0595F13-305B-46F8-ADD1-7331B44DAA1F}" type="parTrans" cxnId="{6E672252-7528-4273-BDF7-7908DFF703BC}">
      <dgm:prSet/>
      <dgm:spPr/>
      <dgm:t>
        <a:bodyPr/>
        <a:lstStyle/>
        <a:p>
          <a:endParaRPr lang="pt-BR"/>
        </a:p>
      </dgm:t>
    </dgm:pt>
    <dgm:pt modelId="{CCDAEF22-7432-4E0E-B027-13CF058265A2}" type="sibTrans" cxnId="{6E672252-7528-4273-BDF7-7908DFF703BC}">
      <dgm:prSet/>
      <dgm:spPr/>
      <dgm:t>
        <a:bodyPr/>
        <a:lstStyle/>
        <a:p>
          <a:endParaRPr lang="pt-BR"/>
        </a:p>
      </dgm:t>
    </dgm:pt>
    <dgm:pt modelId="{2B106889-1BCB-4B82-882C-7189B99676EF}">
      <dgm:prSet/>
      <dgm:spPr/>
      <dgm:t>
        <a:bodyPr/>
        <a:lstStyle/>
        <a:p>
          <a:pPr rtl="0"/>
          <a:r>
            <a:rPr lang="pt-BR" dirty="0" smtClean="0"/>
            <a:t>Valor: R$ 300mil</a:t>
          </a:r>
          <a:endParaRPr lang="pt-BR" dirty="0"/>
        </a:p>
      </dgm:t>
    </dgm:pt>
    <dgm:pt modelId="{2CBCC59F-EBB6-4878-923F-FC6CDB046E4E}" type="parTrans" cxnId="{D4DCE03E-1119-47FF-8A80-AA56BF2E4FDD}">
      <dgm:prSet/>
      <dgm:spPr/>
      <dgm:t>
        <a:bodyPr/>
        <a:lstStyle/>
        <a:p>
          <a:endParaRPr lang="pt-BR"/>
        </a:p>
      </dgm:t>
    </dgm:pt>
    <dgm:pt modelId="{BF6FE3B2-2148-4704-A53F-BE66E64D7E0A}" type="sibTrans" cxnId="{D4DCE03E-1119-47FF-8A80-AA56BF2E4FDD}">
      <dgm:prSet/>
      <dgm:spPr/>
      <dgm:t>
        <a:bodyPr/>
        <a:lstStyle/>
        <a:p>
          <a:endParaRPr lang="pt-BR"/>
        </a:p>
      </dgm:t>
    </dgm:pt>
    <dgm:pt modelId="{1B3EFB1D-BDFC-477D-8527-7B9139516718}">
      <dgm:prSet/>
      <dgm:spPr/>
      <dgm:t>
        <a:bodyPr/>
        <a:lstStyle/>
        <a:p>
          <a:pPr rtl="0"/>
          <a:r>
            <a:rPr lang="pt-BR" smtClean="0"/>
            <a:t>Projeto 6G</a:t>
          </a:r>
          <a:endParaRPr lang="pt-BR" dirty="0"/>
        </a:p>
      </dgm:t>
    </dgm:pt>
    <dgm:pt modelId="{9A20255B-D121-4DC3-9E9D-70D36433AB4B}" type="parTrans" cxnId="{FBB3A520-F987-4460-A632-2338BD0BFB1C}">
      <dgm:prSet/>
      <dgm:spPr/>
      <dgm:t>
        <a:bodyPr/>
        <a:lstStyle/>
        <a:p>
          <a:endParaRPr lang="pt-BR"/>
        </a:p>
      </dgm:t>
    </dgm:pt>
    <dgm:pt modelId="{7E5C01B4-E91D-4B21-AAD4-AD96CDA74D99}" type="sibTrans" cxnId="{FBB3A520-F987-4460-A632-2338BD0BFB1C}">
      <dgm:prSet/>
      <dgm:spPr/>
      <dgm:t>
        <a:bodyPr/>
        <a:lstStyle/>
        <a:p>
          <a:endParaRPr lang="pt-BR"/>
        </a:p>
      </dgm:t>
    </dgm:pt>
    <dgm:pt modelId="{BA8A4489-3E46-48B9-BBB6-B8FD4EFE5BC5}">
      <dgm:prSet/>
      <dgm:spPr/>
      <dgm:t>
        <a:bodyPr/>
        <a:lstStyle/>
        <a:p>
          <a:pPr rtl="0"/>
          <a:r>
            <a:rPr lang="pt-BR" smtClean="0"/>
            <a:t>Projeto PPI: Pesquisas iniciais sobre a sexta geração</a:t>
          </a:r>
          <a:endParaRPr lang="pt-BR" dirty="0"/>
        </a:p>
      </dgm:t>
    </dgm:pt>
    <dgm:pt modelId="{5E651345-232C-4671-9765-BCB82B027822}" type="parTrans" cxnId="{B356ABC5-7BA7-4D29-A19E-73F33A9151A6}">
      <dgm:prSet/>
      <dgm:spPr/>
      <dgm:t>
        <a:bodyPr/>
        <a:lstStyle/>
        <a:p>
          <a:endParaRPr lang="pt-BR"/>
        </a:p>
      </dgm:t>
    </dgm:pt>
    <dgm:pt modelId="{700B10C8-F2D0-4CFE-BE16-709B70215F6E}" type="sibTrans" cxnId="{B356ABC5-7BA7-4D29-A19E-73F33A9151A6}">
      <dgm:prSet/>
      <dgm:spPr/>
      <dgm:t>
        <a:bodyPr/>
        <a:lstStyle/>
        <a:p>
          <a:endParaRPr lang="pt-BR"/>
        </a:p>
      </dgm:t>
    </dgm:pt>
    <dgm:pt modelId="{C99FE79B-6252-48BF-876F-75F01D59DF5D}">
      <dgm:prSet/>
      <dgm:spPr/>
      <dgm:t>
        <a:bodyPr/>
        <a:lstStyle/>
        <a:p>
          <a:pPr rtl="0"/>
          <a:r>
            <a:rPr lang="pt-BR" smtClean="0"/>
            <a:t>Coordenação: RNP</a:t>
          </a:r>
          <a:endParaRPr lang="pt-BR" dirty="0"/>
        </a:p>
      </dgm:t>
    </dgm:pt>
    <dgm:pt modelId="{36EDB9F3-A18B-43CE-9864-3B1C2A0D789B}" type="parTrans" cxnId="{F659FF38-2E3C-421A-A968-78D64D56724E}">
      <dgm:prSet/>
      <dgm:spPr/>
      <dgm:t>
        <a:bodyPr/>
        <a:lstStyle/>
        <a:p>
          <a:endParaRPr lang="pt-BR"/>
        </a:p>
      </dgm:t>
    </dgm:pt>
    <dgm:pt modelId="{147EF3FB-3435-47DB-BCF9-6C1BE95320E6}" type="sibTrans" cxnId="{F659FF38-2E3C-421A-A968-78D64D56724E}">
      <dgm:prSet/>
      <dgm:spPr/>
      <dgm:t>
        <a:bodyPr/>
        <a:lstStyle/>
        <a:p>
          <a:endParaRPr lang="pt-BR"/>
        </a:p>
      </dgm:t>
    </dgm:pt>
    <dgm:pt modelId="{0304ED9A-36EB-46C1-9D5D-E3A172F478B6}">
      <dgm:prSet/>
      <dgm:spPr/>
      <dgm:t>
        <a:bodyPr/>
        <a:lstStyle/>
        <a:p>
          <a:pPr rtl="0"/>
          <a:r>
            <a:rPr lang="pt-BR" smtClean="0"/>
            <a:t>ICTs: 17 (NE, CO, SE e S)</a:t>
          </a:r>
          <a:endParaRPr lang="pt-BR" dirty="0"/>
        </a:p>
      </dgm:t>
    </dgm:pt>
    <dgm:pt modelId="{891B9588-C4E5-4F88-A2A0-F16060F93DCF}" type="parTrans" cxnId="{81A9AB88-6254-4E03-8C1B-4A92036BE06C}">
      <dgm:prSet/>
      <dgm:spPr/>
      <dgm:t>
        <a:bodyPr/>
        <a:lstStyle/>
        <a:p>
          <a:endParaRPr lang="pt-BR"/>
        </a:p>
      </dgm:t>
    </dgm:pt>
    <dgm:pt modelId="{13F6B602-1279-4931-A35B-0CC1A9FA68CA}" type="sibTrans" cxnId="{81A9AB88-6254-4E03-8C1B-4A92036BE06C}">
      <dgm:prSet/>
      <dgm:spPr/>
      <dgm:t>
        <a:bodyPr/>
        <a:lstStyle/>
        <a:p>
          <a:endParaRPr lang="pt-BR"/>
        </a:p>
      </dgm:t>
    </dgm:pt>
    <dgm:pt modelId="{07E1F265-27B4-4A2A-994F-28E9A84EAA64}">
      <dgm:prSet/>
      <dgm:spPr/>
      <dgm:t>
        <a:bodyPr/>
        <a:lstStyle/>
        <a:p>
          <a:pPr rtl="0"/>
          <a:r>
            <a:rPr lang="pt-BR" smtClean="0"/>
            <a:t>Valor: R$ 6M (+30M)</a:t>
          </a:r>
          <a:endParaRPr lang="pt-BR" dirty="0"/>
        </a:p>
      </dgm:t>
    </dgm:pt>
    <dgm:pt modelId="{6AFE310A-0832-4346-9BC4-A13A96C73EAC}" type="parTrans" cxnId="{19C0BC97-2D0C-4682-BFED-42750B2F3B5B}">
      <dgm:prSet/>
      <dgm:spPr/>
      <dgm:t>
        <a:bodyPr/>
        <a:lstStyle/>
        <a:p>
          <a:endParaRPr lang="pt-BR"/>
        </a:p>
      </dgm:t>
    </dgm:pt>
    <dgm:pt modelId="{1F2243B7-C6C9-44DB-A88F-9FEE76D16E2E}" type="sibTrans" cxnId="{19C0BC97-2D0C-4682-BFED-42750B2F3B5B}">
      <dgm:prSet/>
      <dgm:spPr/>
      <dgm:t>
        <a:bodyPr/>
        <a:lstStyle/>
        <a:p>
          <a:endParaRPr lang="pt-BR"/>
        </a:p>
      </dgm:t>
    </dgm:pt>
    <dgm:pt modelId="{F558616C-7DAC-4399-BC61-FE0B5B2006D8}">
      <dgm:prSet/>
      <dgm:spPr/>
      <dgm:t>
        <a:bodyPr/>
        <a:lstStyle/>
        <a:p>
          <a:pPr rtl="0"/>
          <a:r>
            <a:rPr lang="pt-BR" smtClean="0"/>
            <a:t>5G in-a-Box</a:t>
          </a:r>
          <a:endParaRPr lang="pt-BR" dirty="0"/>
        </a:p>
      </dgm:t>
    </dgm:pt>
    <dgm:pt modelId="{00DFD020-3923-4446-84DD-251E8DFE3762}" type="parTrans" cxnId="{96E030EF-AF7E-4FA4-904E-A389BD5B384A}">
      <dgm:prSet/>
      <dgm:spPr/>
      <dgm:t>
        <a:bodyPr/>
        <a:lstStyle/>
        <a:p>
          <a:endParaRPr lang="pt-BR"/>
        </a:p>
      </dgm:t>
    </dgm:pt>
    <dgm:pt modelId="{FA153165-9BCE-42EB-A449-B364C6B05E82}" type="sibTrans" cxnId="{96E030EF-AF7E-4FA4-904E-A389BD5B384A}">
      <dgm:prSet/>
      <dgm:spPr/>
      <dgm:t>
        <a:bodyPr/>
        <a:lstStyle/>
        <a:p>
          <a:endParaRPr lang="pt-BR"/>
        </a:p>
      </dgm:t>
    </dgm:pt>
    <dgm:pt modelId="{312AEFAC-63CB-4B0A-8579-B0448489D4F1}">
      <dgm:prSet/>
      <dgm:spPr/>
      <dgm:t>
        <a:bodyPr/>
        <a:lstStyle/>
        <a:p>
          <a:pPr rtl="0"/>
          <a:r>
            <a:rPr lang="pt-BR" dirty="0" smtClean="0"/>
            <a:t>Projeto PPI: BS compacta para redes de </a:t>
          </a:r>
          <a:r>
            <a:rPr lang="pt-BR" dirty="0" err="1" smtClean="0"/>
            <a:t>micro-células</a:t>
          </a:r>
          <a:r>
            <a:rPr lang="pt-BR" dirty="0" smtClean="0"/>
            <a:t> (ambientes internos ou externos).</a:t>
          </a:r>
          <a:endParaRPr lang="pt-BR" dirty="0"/>
        </a:p>
      </dgm:t>
    </dgm:pt>
    <dgm:pt modelId="{B41FABA1-9FFB-43D1-8580-7537A5B459E2}" type="parTrans" cxnId="{DF71E364-0E5D-46F4-898F-08889B819D8A}">
      <dgm:prSet/>
      <dgm:spPr/>
      <dgm:t>
        <a:bodyPr/>
        <a:lstStyle/>
        <a:p>
          <a:endParaRPr lang="pt-BR"/>
        </a:p>
      </dgm:t>
    </dgm:pt>
    <dgm:pt modelId="{C60E89B7-1089-4216-BCFF-D4FCF0BFF582}" type="sibTrans" cxnId="{DF71E364-0E5D-46F4-898F-08889B819D8A}">
      <dgm:prSet/>
      <dgm:spPr/>
      <dgm:t>
        <a:bodyPr/>
        <a:lstStyle/>
        <a:p>
          <a:endParaRPr lang="pt-BR"/>
        </a:p>
      </dgm:t>
    </dgm:pt>
    <dgm:pt modelId="{1157DEDE-6C30-4EA6-B15A-CE7277C22A2E}">
      <dgm:prSet/>
      <dgm:spPr/>
      <dgm:t>
        <a:bodyPr/>
        <a:lstStyle/>
        <a:p>
          <a:pPr rtl="0"/>
          <a:r>
            <a:rPr lang="pt-BR" smtClean="0"/>
            <a:t>Coordenação: RNP e Inatel</a:t>
          </a:r>
          <a:endParaRPr lang="pt-BR" dirty="0"/>
        </a:p>
      </dgm:t>
    </dgm:pt>
    <dgm:pt modelId="{53427A24-5736-4EF2-B839-ED4FA83FE75E}" type="parTrans" cxnId="{9F8901BD-FF2D-4694-90A4-F1C8460C287A}">
      <dgm:prSet/>
      <dgm:spPr/>
      <dgm:t>
        <a:bodyPr/>
        <a:lstStyle/>
        <a:p>
          <a:endParaRPr lang="pt-BR"/>
        </a:p>
      </dgm:t>
    </dgm:pt>
    <dgm:pt modelId="{48AFE505-7473-4184-8DE8-1B9BA62C9B52}" type="sibTrans" cxnId="{9F8901BD-FF2D-4694-90A4-F1C8460C287A}">
      <dgm:prSet/>
      <dgm:spPr/>
      <dgm:t>
        <a:bodyPr/>
        <a:lstStyle/>
        <a:p>
          <a:endParaRPr lang="pt-BR"/>
        </a:p>
      </dgm:t>
    </dgm:pt>
    <dgm:pt modelId="{E1731935-2025-4556-A614-A671082B005C}">
      <dgm:prSet/>
      <dgm:spPr/>
      <dgm:t>
        <a:bodyPr/>
        <a:lstStyle/>
        <a:p>
          <a:pPr rtl="0"/>
          <a:r>
            <a:rPr lang="pt-BR" dirty="0" smtClean="0"/>
            <a:t>Valor: R$ 3,2M  </a:t>
          </a:r>
          <a:endParaRPr lang="pt-BR" dirty="0"/>
        </a:p>
      </dgm:t>
    </dgm:pt>
    <dgm:pt modelId="{4416EF3D-7196-42FE-9764-BD14170C3A49}" type="parTrans" cxnId="{BEF2940C-90C1-4EAD-8F1B-04E8E8D38698}">
      <dgm:prSet/>
      <dgm:spPr/>
      <dgm:t>
        <a:bodyPr/>
        <a:lstStyle/>
        <a:p>
          <a:endParaRPr lang="pt-BR"/>
        </a:p>
      </dgm:t>
    </dgm:pt>
    <dgm:pt modelId="{F3C0F6C1-933D-4B7F-8193-9EE71F842B68}" type="sibTrans" cxnId="{BEF2940C-90C1-4EAD-8F1B-04E8E8D38698}">
      <dgm:prSet/>
      <dgm:spPr/>
      <dgm:t>
        <a:bodyPr/>
        <a:lstStyle/>
        <a:p>
          <a:endParaRPr lang="pt-BR"/>
        </a:p>
      </dgm:t>
    </dgm:pt>
    <dgm:pt modelId="{6B8124FD-CBAA-4929-92E9-2F6D9BB32747}">
      <dgm:prSet/>
      <dgm:spPr/>
      <dgm:t>
        <a:bodyPr/>
        <a:lstStyle/>
        <a:p>
          <a:pPr rtl="0"/>
          <a:r>
            <a:rPr lang="pt-BR" dirty="0" smtClean="0">
              <a:latin typeface="Arial" panose="020B0604020202020204" pitchFamily="34" charset="0"/>
              <a:cs typeface="Arial" panose="020B0604020202020204" pitchFamily="34" charset="0"/>
            </a:rPr>
            <a:t>5G Range</a:t>
          </a:r>
        </a:p>
      </dgm:t>
    </dgm:pt>
    <dgm:pt modelId="{AC45D635-880A-4CEB-B5DB-418D8C97BCAF}" type="parTrans" cxnId="{55E3A7BF-FAE1-45C2-82A5-04DDE816C319}">
      <dgm:prSet/>
      <dgm:spPr/>
    </dgm:pt>
    <dgm:pt modelId="{E45A7273-C85F-4FBA-B59B-3978ABF8F507}" type="sibTrans" cxnId="{55E3A7BF-FAE1-45C2-82A5-04DDE816C319}">
      <dgm:prSet/>
      <dgm:spPr/>
    </dgm:pt>
    <dgm:pt modelId="{53B82176-14FB-49A3-9BED-49BB430F1D30}">
      <dgm:prSet/>
      <dgm:spPr/>
      <dgm:t>
        <a:bodyPr/>
        <a:lstStyle/>
        <a:p>
          <a:pPr rtl="0"/>
          <a:r>
            <a:rPr lang="pt-BR" dirty="0" smtClean="0">
              <a:latin typeface="Arial" panose="020B0604020202020204" pitchFamily="34" charset="0"/>
              <a:cs typeface="Arial" panose="020B0604020202020204" pitchFamily="34" charset="0"/>
            </a:rPr>
            <a:t>Cooperação Internacional: BR x UE</a:t>
          </a:r>
        </a:p>
      </dgm:t>
    </dgm:pt>
    <dgm:pt modelId="{7FBB92B5-37E9-4D38-BCBD-1C1471C5B09E}" type="parTrans" cxnId="{619A926D-EF60-48AA-B7C9-2ADFDF305C9E}">
      <dgm:prSet/>
      <dgm:spPr/>
    </dgm:pt>
    <dgm:pt modelId="{502D275A-8BE5-4B91-BF62-5283308E4ADB}" type="sibTrans" cxnId="{619A926D-EF60-48AA-B7C9-2ADFDF305C9E}">
      <dgm:prSet/>
      <dgm:spPr/>
    </dgm:pt>
    <dgm:pt modelId="{0FC2A1F9-63DA-431E-BC89-B0AEA2F60DA8}">
      <dgm:prSet/>
      <dgm:spPr/>
      <dgm:t>
        <a:bodyPr/>
        <a:lstStyle/>
        <a:p>
          <a:pPr rtl="0"/>
          <a:r>
            <a:rPr lang="pt-BR" dirty="0" smtClean="0">
              <a:latin typeface="Arial" panose="020B0604020202020204" pitchFamily="34" charset="0"/>
              <a:cs typeface="Arial" panose="020B0604020202020204" pitchFamily="34" charset="0"/>
            </a:rPr>
            <a:t>Maximizar alcance: 50km de célula com 100Mbps.</a:t>
          </a:r>
        </a:p>
      </dgm:t>
    </dgm:pt>
    <dgm:pt modelId="{91045A65-0AAE-4A8D-810B-3F339DD62FBF}" type="parTrans" cxnId="{343AD282-0CCD-410F-BB7D-503791F98D4E}">
      <dgm:prSet/>
      <dgm:spPr/>
    </dgm:pt>
    <dgm:pt modelId="{8F6CD35B-8C80-4449-9813-E29D61479D85}" type="sibTrans" cxnId="{343AD282-0CCD-410F-BB7D-503791F98D4E}">
      <dgm:prSet/>
      <dgm:spPr/>
    </dgm:pt>
    <dgm:pt modelId="{4AA92CF2-D84A-4B76-8D14-31CC6CA620C5}">
      <dgm:prSet/>
      <dgm:spPr/>
      <dgm:t>
        <a:bodyPr/>
        <a:lstStyle/>
        <a:p>
          <a:pPr rtl="0"/>
          <a:r>
            <a:rPr lang="pt-BR" dirty="0" err="1" smtClean="0">
              <a:latin typeface="Arial" panose="020B0604020202020204" pitchFamily="34" charset="0"/>
              <a:cs typeface="Arial" panose="020B0604020202020204" pitchFamily="34" charset="0"/>
            </a:rPr>
            <a:t>ICTs</a:t>
          </a:r>
          <a:r>
            <a:rPr lang="pt-BR" dirty="0" smtClean="0">
              <a:latin typeface="Arial" panose="020B0604020202020204" pitchFamily="34" charset="0"/>
              <a:cs typeface="Arial" panose="020B0604020202020204" pitchFamily="34" charset="0"/>
            </a:rPr>
            <a:t>: RNP, </a:t>
          </a:r>
          <a:r>
            <a:rPr lang="pt-BR" dirty="0" err="1" smtClean="0">
              <a:latin typeface="Arial" panose="020B0604020202020204" pitchFamily="34" charset="0"/>
              <a:cs typeface="Arial" panose="020B0604020202020204" pitchFamily="34" charset="0"/>
            </a:rPr>
            <a:t>Inatel</a:t>
          </a:r>
          <a:r>
            <a:rPr lang="pt-BR" dirty="0" smtClean="0"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pt-BR" dirty="0" err="1" smtClean="0">
              <a:latin typeface="Arial" panose="020B0604020202020204" pitchFamily="34" charset="0"/>
              <a:cs typeface="Arial" panose="020B0604020202020204" pitchFamily="34" charset="0"/>
            </a:rPr>
            <a:t>CPqD</a:t>
          </a:r>
          <a:r>
            <a:rPr lang="pt-BR" dirty="0" smtClean="0">
              <a:latin typeface="Arial" panose="020B0604020202020204" pitchFamily="34" charset="0"/>
              <a:cs typeface="Arial" panose="020B0604020202020204" pitchFamily="34" charset="0"/>
            </a:rPr>
            <a:t>, UFU, USP, UnB, UFC e Ericsson + 4 EU</a:t>
          </a:r>
        </a:p>
      </dgm:t>
    </dgm:pt>
    <dgm:pt modelId="{876F3ADB-2B4C-4904-968A-E5E569FD4F05}" type="parTrans" cxnId="{E236AE99-3089-4E88-97E0-164EACC7330A}">
      <dgm:prSet/>
      <dgm:spPr/>
    </dgm:pt>
    <dgm:pt modelId="{FFCA4D46-2880-4E35-8DDB-54E3C3E3D923}" type="sibTrans" cxnId="{E236AE99-3089-4E88-97E0-164EACC7330A}">
      <dgm:prSet/>
      <dgm:spPr/>
    </dgm:pt>
    <dgm:pt modelId="{DEDCB836-51B1-4B7D-AAD9-B41CDC9608BC}">
      <dgm:prSet/>
      <dgm:spPr/>
      <dgm:t>
        <a:bodyPr/>
        <a:lstStyle/>
        <a:p>
          <a:pPr rtl="0"/>
          <a:r>
            <a:rPr lang="pt-BR" dirty="0" smtClean="0">
              <a:latin typeface="Arial" panose="020B0604020202020204" pitchFamily="34" charset="0"/>
              <a:cs typeface="Arial" panose="020B0604020202020204" pitchFamily="34" charset="0"/>
            </a:rPr>
            <a:t>Valor: R$ 10M</a:t>
          </a:r>
        </a:p>
      </dgm:t>
    </dgm:pt>
    <dgm:pt modelId="{92AF5F3C-AFBD-4F06-9F0C-68E4FEE84031}" type="parTrans" cxnId="{2A2B706B-C868-409B-A147-FA0C8736A9D2}">
      <dgm:prSet/>
      <dgm:spPr/>
    </dgm:pt>
    <dgm:pt modelId="{E0E11BAE-CDD3-4EE0-ABBE-1E228DA32F3D}" type="sibTrans" cxnId="{2A2B706B-C868-409B-A147-FA0C8736A9D2}">
      <dgm:prSet/>
      <dgm:spPr/>
    </dgm:pt>
    <dgm:pt modelId="{AC58FB73-8A32-4460-8102-9F914690E6CB}">
      <dgm:prSet/>
      <dgm:spPr/>
      <dgm:t>
        <a:bodyPr/>
        <a:lstStyle/>
        <a:p>
          <a:pPr rtl="0"/>
          <a:r>
            <a:rPr lang="pt-BR" dirty="0" smtClean="0"/>
            <a:t>OpenRAN </a:t>
          </a:r>
          <a:r>
            <a:rPr lang="pt-BR" dirty="0" err="1" smtClean="0"/>
            <a:t>MCTI@Brasil</a:t>
          </a:r>
          <a:endParaRPr lang="pt-BR" dirty="0"/>
        </a:p>
      </dgm:t>
    </dgm:pt>
    <dgm:pt modelId="{0C151E5E-FAF4-4C3C-9A68-18CE1CAC3430}" type="parTrans" cxnId="{C043CFD5-8F69-4AEA-884B-8CD0B8111DAE}">
      <dgm:prSet/>
      <dgm:spPr/>
    </dgm:pt>
    <dgm:pt modelId="{46E7378A-C711-4195-AA55-33DF6A581530}" type="sibTrans" cxnId="{C043CFD5-8F69-4AEA-884B-8CD0B8111DAE}">
      <dgm:prSet/>
      <dgm:spPr/>
    </dgm:pt>
    <dgm:pt modelId="{0A837C41-ADDD-4447-9325-E58FD4682E87}">
      <dgm:prSet/>
      <dgm:spPr/>
      <dgm:t>
        <a:bodyPr/>
        <a:lstStyle/>
        <a:p>
          <a:pPr rtl="0"/>
          <a:r>
            <a:rPr lang="pt-BR" dirty="0" smtClean="0"/>
            <a:t>Projeto PPI: PD&amp;I e </a:t>
          </a:r>
          <a:r>
            <a:rPr lang="pt-BR" dirty="0" err="1" smtClean="0"/>
            <a:t>Testbeds</a:t>
          </a:r>
          <a:r>
            <a:rPr lang="pt-BR" dirty="0" smtClean="0"/>
            <a:t> </a:t>
          </a:r>
          <a:endParaRPr lang="pt-BR" dirty="0"/>
        </a:p>
      </dgm:t>
    </dgm:pt>
    <dgm:pt modelId="{F6EABA55-D0FF-4D02-A8FC-94082FB07B5A}" type="parTrans" cxnId="{E7236377-BE0C-4DFB-9681-E909540368FA}">
      <dgm:prSet/>
      <dgm:spPr/>
    </dgm:pt>
    <dgm:pt modelId="{DDD2E561-E605-40F8-BD13-A215007397DE}" type="sibTrans" cxnId="{E7236377-BE0C-4DFB-9681-E909540368FA}">
      <dgm:prSet/>
      <dgm:spPr/>
    </dgm:pt>
    <dgm:pt modelId="{0B9AC732-6DDA-4EB6-AD2B-1ABECB699F6F}">
      <dgm:prSet/>
      <dgm:spPr/>
      <dgm:t>
        <a:bodyPr/>
        <a:lstStyle/>
        <a:p>
          <a:pPr rtl="0"/>
          <a:r>
            <a:rPr lang="pt-BR" dirty="0" smtClean="0"/>
            <a:t>Coordenação: RNP e </a:t>
          </a:r>
          <a:r>
            <a:rPr lang="pt-BR" dirty="0" err="1" smtClean="0"/>
            <a:t>CPqD</a:t>
          </a:r>
          <a:r>
            <a:rPr lang="pt-BR" dirty="0" smtClean="0"/>
            <a:t> + pesquisadores das IEP (Fase 1)</a:t>
          </a:r>
          <a:endParaRPr lang="pt-BR" dirty="0"/>
        </a:p>
      </dgm:t>
    </dgm:pt>
    <dgm:pt modelId="{3177D3B6-EE65-426E-BA64-54DF120D4FA1}" type="parTrans" cxnId="{4B9A59CC-BB2D-44AD-BD58-74F74D8CE913}">
      <dgm:prSet/>
      <dgm:spPr/>
    </dgm:pt>
    <dgm:pt modelId="{6A57AC45-BF66-4A2F-923C-225FC83D8FCC}" type="sibTrans" cxnId="{4B9A59CC-BB2D-44AD-BD58-74F74D8CE913}">
      <dgm:prSet/>
      <dgm:spPr/>
    </dgm:pt>
    <dgm:pt modelId="{191722C4-8A66-430D-8CB0-4CB1ECDDBE5A}">
      <dgm:prSet/>
      <dgm:spPr/>
      <dgm:t>
        <a:bodyPr/>
        <a:lstStyle/>
        <a:p>
          <a:pPr rtl="0"/>
          <a:r>
            <a:rPr lang="pt-BR" dirty="0" smtClean="0"/>
            <a:t>Valor: R$ 32M </a:t>
          </a:r>
          <a:endParaRPr lang="pt-BR" dirty="0"/>
        </a:p>
      </dgm:t>
    </dgm:pt>
    <dgm:pt modelId="{A6A9A6AE-D987-42BA-B377-0595E07E1B2E}" type="parTrans" cxnId="{374787F2-38E5-443F-8BA2-E168F10F1189}">
      <dgm:prSet/>
      <dgm:spPr/>
    </dgm:pt>
    <dgm:pt modelId="{0F065684-25D8-432B-A93C-ADCF5A7F4FF8}" type="sibTrans" cxnId="{374787F2-38E5-443F-8BA2-E168F10F1189}">
      <dgm:prSet/>
      <dgm:spPr/>
    </dgm:pt>
    <dgm:pt modelId="{10C02D09-4ADB-4C12-A3FB-AC3A42D3C7AC}" type="pres">
      <dgm:prSet presAssocID="{C673AF29-5BC9-46A3-A88F-280437C4910E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3A292DC-87CC-4CC5-8868-A5C292B5CDAC}" type="pres">
      <dgm:prSet presAssocID="{DF386ADB-5496-4613-BA27-01607FE65A50}" presName="roof" presStyleLbl="dkBgShp" presStyleIdx="0" presStyleCnt="2"/>
      <dgm:spPr/>
      <dgm:t>
        <a:bodyPr/>
        <a:lstStyle/>
        <a:p>
          <a:endParaRPr lang="pt-BR"/>
        </a:p>
      </dgm:t>
    </dgm:pt>
    <dgm:pt modelId="{A344F421-F13F-43FE-BDC3-C460BB5174F6}" type="pres">
      <dgm:prSet presAssocID="{DF386ADB-5496-4613-BA27-01607FE65A50}" presName="pillars" presStyleCnt="0"/>
      <dgm:spPr/>
      <dgm:t>
        <a:bodyPr/>
        <a:lstStyle/>
        <a:p>
          <a:endParaRPr lang="pt-BR"/>
        </a:p>
      </dgm:t>
    </dgm:pt>
    <dgm:pt modelId="{E90DBFF7-0B84-4BAE-B24C-DF906D298F1B}" type="pres">
      <dgm:prSet presAssocID="{DF386ADB-5496-4613-BA27-01607FE65A50}" presName="pillar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83C44FE-1634-4FE4-ACAE-DFE2E0A5D1D2}" type="pres">
      <dgm:prSet presAssocID="{89FE751C-BEEE-4B1F-9853-DB2E33BCDC97}" presName="pillarX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900A069-CE29-4F15-BE1A-149AB2BC4049}" type="pres">
      <dgm:prSet presAssocID="{FF3A02E3-4E1E-4819-8092-D7A8583E4577}" presName="pillarX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348AEC6-C7B3-4236-B0CD-1C9CD603280A}" type="pres">
      <dgm:prSet presAssocID="{1B3EFB1D-BDFC-477D-8527-7B9139516718}" presName="pillarX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68D27D5-2730-4E02-ACF6-6E2F092FE726}" type="pres">
      <dgm:prSet presAssocID="{F558616C-7DAC-4399-BC61-FE0B5B2006D8}" presName="pillarX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06F832A-F736-41DD-A0D8-021D33FD78C4}" type="pres">
      <dgm:prSet presAssocID="{AC58FB73-8A32-4460-8102-9F914690E6CB}" presName="pillarX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F702D3C-C963-416C-B7F7-2AB847AD9E04}" type="pres">
      <dgm:prSet presAssocID="{DF386ADB-5496-4613-BA27-01607FE65A50}" presName="base" presStyleLbl="dkBgShp" presStyleIdx="1" presStyleCnt="2"/>
      <dgm:spPr/>
      <dgm:t>
        <a:bodyPr/>
        <a:lstStyle/>
        <a:p>
          <a:endParaRPr lang="pt-BR"/>
        </a:p>
      </dgm:t>
    </dgm:pt>
  </dgm:ptLst>
  <dgm:cxnLst>
    <dgm:cxn modelId="{CE0034EE-9E56-4C00-B8B7-62622EFE98FE}" type="presOf" srcId="{AC58FB73-8A32-4460-8102-9F914690E6CB}" destId="{906F832A-F736-41DD-A0D8-021D33FD78C4}" srcOrd="0" destOrd="0" presId="urn:microsoft.com/office/officeart/2005/8/layout/hList3"/>
    <dgm:cxn modelId="{619A926D-EF60-48AA-B7C9-2ADFDF305C9E}" srcId="{6B8124FD-CBAA-4929-92E9-2F6D9BB32747}" destId="{53B82176-14FB-49A3-9BED-49BB430F1D30}" srcOrd="0" destOrd="0" parTransId="{7FBB92B5-37E9-4D38-BCBD-1C1471C5B09E}" sibTransId="{502D275A-8BE5-4B91-BF62-5283308E4ADB}"/>
    <dgm:cxn modelId="{19C0BC97-2D0C-4682-BFED-42750B2F3B5B}" srcId="{1B3EFB1D-BDFC-477D-8527-7B9139516718}" destId="{07E1F265-27B4-4A2A-994F-28E9A84EAA64}" srcOrd="3" destOrd="0" parTransId="{6AFE310A-0832-4346-9BC4-A13A96C73EAC}" sibTransId="{1F2243B7-C6C9-44DB-A88F-9FEE76D16E2E}"/>
    <dgm:cxn modelId="{CE88E907-EE03-43C5-8445-988BFA33A644}" type="presOf" srcId="{0A837C41-ADDD-4447-9325-E58FD4682E87}" destId="{906F832A-F736-41DD-A0D8-021D33FD78C4}" srcOrd="0" destOrd="1" presId="urn:microsoft.com/office/officeart/2005/8/layout/hList3"/>
    <dgm:cxn modelId="{A8B09B1D-740C-45EF-8896-5771A98A7780}" type="presOf" srcId="{E1731935-2025-4556-A614-A671082B005C}" destId="{668D27D5-2730-4E02-ACF6-6E2F092FE726}" srcOrd="0" destOrd="3" presId="urn:microsoft.com/office/officeart/2005/8/layout/hList3"/>
    <dgm:cxn modelId="{EA6CC047-A69A-433A-B009-3171E608B25F}" type="presOf" srcId="{312AEFAC-63CB-4B0A-8579-B0448489D4F1}" destId="{668D27D5-2730-4E02-ACF6-6E2F092FE726}" srcOrd="0" destOrd="1" presId="urn:microsoft.com/office/officeart/2005/8/layout/hList3"/>
    <dgm:cxn modelId="{F659FF38-2E3C-421A-A968-78D64D56724E}" srcId="{1B3EFB1D-BDFC-477D-8527-7B9139516718}" destId="{C99FE79B-6252-48BF-876F-75F01D59DF5D}" srcOrd="1" destOrd="0" parTransId="{36EDB9F3-A18B-43CE-9864-3B1C2A0D789B}" sibTransId="{147EF3FB-3435-47DB-BCF9-6C1BE95320E6}"/>
    <dgm:cxn modelId="{05BDD10B-48A2-4E0C-B746-17389A3A4362}" srcId="{89FE751C-BEEE-4B1F-9853-DB2E33BCDC97}" destId="{5C77138F-88C0-42FE-9E7C-66DEEC86BB26}" srcOrd="2" destOrd="0" parTransId="{5BA16FB6-634B-404B-97D9-D45451BC1002}" sibTransId="{D066E353-ECBC-415F-BBE9-3FD510BEDD5F}"/>
    <dgm:cxn modelId="{4A2B7AC3-3D54-497D-A84F-BA145FE76800}" type="presOf" srcId="{5C77138F-88C0-42FE-9E7C-66DEEC86BB26}" destId="{283C44FE-1634-4FE4-ACAE-DFE2E0A5D1D2}" srcOrd="0" destOrd="3" presId="urn:microsoft.com/office/officeart/2005/8/layout/hList3"/>
    <dgm:cxn modelId="{F34E507F-1935-4484-8549-D4FA8E0568D0}" type="presOf" srcId="{B312127D-4BBA-443B-BBA7-047A42B75F24}" destId="{283C44FE-1634-4FE4-ACAE-DFE2E0A5D1D2}" srcOrd="0" destOrd="1" presId="urn:microsoft.com/office/officeart/2005/8/layout/hList3"/>
    <dgm:cxn modelId="{6161719C-9D18-4DC0-970E-03721C34A912}" type="presOf" srcId="{53B82176-14FB-49A3-9BED-49BB430F1D30}" destId="{E90DBFF7-0B84-4BAE-B24C-DF906D298F1B}" srcOrd="0" destOrd="1" presId="urn:microsoft.com/office/officeart/2005/8/layout/hList3"/>
    <dgm:cxn modelId="{374787F2-38E5-443F-8BA2-E168F10F1189}" srcId="{AC58FB73-8A32-4460-8102-9F914690E6CB}" destId="{191722C4-8A66-430D-8CB0-4CB1ECDDBE5A}" srcOrd="2" destOrd="0" parTransId="{A6A9A6AE-D987-42BA-B377-0595E07E1B2E}" sibTransId="{0F065684-25D8-432B-A93C-ADCF5A7F4FF8}"/>
    <dgm:cxn modelId="{CC809F62-686C-4BEC-87F6-37049E9191E2}" srcId="{C673AF29-5BC9-46A3-A88F-280437C4910E}" destId="{DF386ADB-5496-4613-BA27-01607FE65A50}" srcOrd="0" destOrd="0" parTransId="{E2DC32CE-6071-4AD8-B370-46061D5755C5}" sibTransId="{39DED33B-CDEB-4D0F-9218-2659AD629744}"/>
    <dgm:cxn modelId="{81A9AB88-6254-4E03-8C1B-4A92036BE06C}" srcId="{1B3EFB1D-BDFC-477D-8527-7B9139516718}" destId="{0304ED9A-36EB-46C1-9D5D-E3A172F478B6}" srcOrd="2" destOrd="0" parTransId="{891B9588-C4E5-4F88-A2A0-F16060F93DCF}" sibTransId="{13F6B602-1279-4931-A35B-0CC1A9FA68CA}"/>
    <dgm:cxn modelId="{09C20A4E-9389-452F-B618-A4D8C4BE68C2}" type="presOf" srcId="{FF3A02E3-4E1E-4819-8092-D7A8583E4577}" destId="{3900A069-CE29-4F15-BE1A-149AB2BC4049}" srcOrd="0" destOrd="0" presId="urn:microsoft.com/office/officeart/2005/8/layout/hList3"/>
    <dgm:cxn modelId="{E7236377-BE0C-4DFB-9681-E909540368FA}" srcId="{AC58FB73-8A32-4460-8102-9F914690E6CB}" destId="{0A837C41-ADDD-4447-9325-E58FD4682E87}" srcOrd="0" destOrd="0" parTransId="{F6EABA55-D0FF-4D02-A8FC-94082FB07B5A}" sibTransId="{DDD2E561-E605-40F8-BD13-A215007397DE}"/>
    <dgm:cxn modelId="{C35B693F-E8B9-4448-99FC-1AFB872D2F3A}" type="presOf" srcId="{5FEC7250-91B6-4D22-9691-95E4F812742A}" destId="{283C44FE-1634-4FE4-ACAE-DFE2E0A5D1D2}" srcOrd="0" destOrd="2" presId="urn:microsoft.com/office/officeart/2005/8/layout/hList3"/>
    <dgm:cxn modelId="{2A2B706B-C868-409B-A147-FA0C8736A9D2}" srcId="{6B8124FD-CBAA-4929-92E9-2F6D9BB32747}" destId="{DEDCB836-51B1-4B7D-AAD9-B41CDC9608BC}" srcOrd="3" destOrd="0" parTransId="{92AF5F3C-AFBD-4F06-9F0C-68E4FEE84031}" sibTransId="{E0E11BAE-CDD3-4EE0-ABBE-1E228DA32F3D}"/>
    <dgm:cxn modelId="{1FF408E8-40DA-4AB7-8F0A-21B5FA8D44F7}" type="presOf" srcId="{0B9AC732-6DDA-4EB6-AD2B-1ABECB699F6F}" destId="{906F832A-F736-41DD-A0D8-021D33FD78C4}" srcOrd="0" destOrd="2" presId="urn:microsoft.com/office/officeart/2005/8/layout/hList3"/>
    <dgm:cxn modelId="{87906EDD-A351-4BFC-A6BA-EE22D7591A56}" type="presOf" srcId="{0FC2A1F9-63DA-431E-BC89-B0AEA2F60DA8}" destId="{E90DBFF7-0B84-4BAE-B24C-DF906D298F1B}" srcOrd="0" destOrd="2" presId="urn:microsoft.com/office/officeart/2005/8/layout/hList3"/>
    <dgm:cxn modelId="{B9AE57F6-388D-45B6-B235-1FBD72D0CE39}" srcId="{89FE751C-BEEE-4B1F-9853-DB2E33BCDC97}" destId="{5FEC7250-91B6-4D22-9691-95E4F812742A}" srcOrd="1" destOrd="0" parTransId="{B2C60FFE-D359-405E-A0B2-099B8C7C319E}" sibTransId="{461F3DCE-7C8C-4BE9-93AE-B030CA64D199}"/>
    <dgm:cxn modelId="{E79B1B2A-D75C-4E4E-915C-FC27C5A4684D}" srcId="{89FE751C-BEEE-4B1F-9853-DB2E33BCDC97}" destId="{B312127D-4BBA-443B-BBA7-047A42B75F24}" srcOrd="0" destOrd="0" parTransId="{230177E9-547F-4A69-B40D-DF716D249BAA}" sibTransId="{95EE5063-D3A4-49C5-93EB-28692BCCD71D}"/>
    <dgm:cxn modelId="{6E672252-7528-4273-BDF7-7908DFF703BC}" srcId="{FF3A02E3-4E1E-4819-8092-D7A8583E4577}" destId="{0A8BF5B6-FE4E-4BBA-900F-FD0E12B611DA}" srcOrd="1" destOrd="0" parTransId="{F0595F13-305B-46F8-ADD1-7331B44DAA1F}" sibTransId="{CCDAEF22-7432-4E0E-B027-13CF058265A2}"/>
    <dgm:cxn modelId="{D4DCE03E-1119-47FF-8A80-AA56BF2E4FDD}" srcId="{FF3A02E3-4E1E-4819-8092-D7A8583E4577}" destId="{2B106889-1BCB-4B82-882C-7189B99676EF}" srcOrd="2" destOrd="0" parTransId="{2CBCC59F-EBB6-4878-923F-FC6CDB046E4E}" sibTransId="{BF6FE3B2-2148-4704-A53F-BE66E64D7E0A}"/>
    <dgm:cxn modelId="{4B9A59CC-BB2D-44AD-BD58-74F74D8CE913}" srcId="{AC58FB73-8A32-4460-8102-9F914690E6CB}" destId="{0B9AC732-6DDA-4EB6-AD2B-1ABECB699F6F}" srcOrd="1" destOrd="0" parTransId="{3177D3B6-EE65-426E-BA64-54DF120D4FA1}" sibTransId="{6A57AC45-BF66-4A2F-923C-225FC83D8FCC}"/>
    <dgm:cxn modelId="{D26C8158-023C-4E82-9185-238AC32005CA}" type="presOf" srcId="{1B3EFB1D-BDFC-477D-8527-7B9139516718}" destId="{5348AEC6-C7B3-4236-B0CD-1C9CD603280A}" srcOrd="0" destOrd="0" presId="urn:microsoft.com/office/officeart/2005/8/layout/hList3"/>
    <dgm:cxn modelId="{AA260F1A-A414-4111-88E1-A18C8FF1C9D5}" srcId="{89FE751C-BEEE-4B1F-9853-DB2E33BCDC97}" destId="{F1121EFD-E9E1-4505-9956-19511E8A0F73}" srcOrd="3" destOrd="0" parTransId="{15C4AAB2-F5AE-4BF2-9107-5BD2CC701115}" sibTransId="{88B6905D-4E8F-4307-A8B9-2B0413C9BF74}"/>
    <dgm:cxn modelId="{9F8901BD-FF2D-4694-90A4-F1C8460C287A}" srcId="{F558616C-7DAC-4399-BC61-FE0B5B2006D8}" destId="{1157DEDE-6C30-4EA6-B15A-CE7277C22A2E}" srcOrd="1" destOrd="0" parTransId="{53427A24-5736-4EF2-B839-ED4FA83FE75E}" sibTransId="{48AFE505-7473-4184-8DE8-1B9BA62C9B52}"/>
    <dgm:cxn modelId="{E236AE99-3089-4E88-97E0-164EACC7330A}" srcId="{6B8124FD-CBAA-4929-92E9-2F6D9BB32747}" destId="{4AA92CF2-D84A-4B76-8D14-31CC6CA620C5}" srcOrd="2" destOrd="0" parTransId="{876F3ADB-2B4C-4904-968A-E5E569FD4F05}" sibTransId="{FFCA4D46-2880-4E35-8DDB-54E3C3E3D923}"/>
    <dgm:cxn modelId="{52E5BD5B-758E-41F5-85FD-9A03660528FF}" type="presOf" srcId="{4AA92CF2-D84A-4B76-8D14-31CC6CA620C5}" destId="{E90DBFF7-0B84-4BAE-B24C-DF906D298F1B}" srcOrd="0" destOrd="3" presId="urn:microsoft.com/office/officeart/2005/8/layout/hList3"/>
    <dgm:cxn modelId="{700C46D7-EF97-4305-9273-C82BB62B3FF3}" type="presOf" srcId="{5D035894-D7C9-4236-BD1E-EDAF49ED1103}" destId="{3900A069-CE29-4F15-BE1A-149AB2BC4049}" srcOrd="0" destOrd="1" presId="urn:microsoft.com/office/officeart/2005/8/layout/hList3"/>
    <dgm:cxn modelId="{F1DD948D-C508-4575-B918-826776674A6E}" type="presOf" srcId="{DEDCB836-51B1-4B7D-AAD9-B41CDC9608BC}" destId="{E90DBFF7-0B84-4BAE-B24C-DF906D298F1B}" srcOrd="0" destOrd="4" presId="urn:microsoft.com/office/officeart/2005/8/layout/hList3"/>
    <dgm:cxn modelId="{ED05927F-963F-4A9B-B91C-66BD949E667F}" type="presOf" srcId="{0A8BF5B6-FE4E-4BBA-900F-FD0E12B611DA}" destId="{3900A069-CE29-4F15-BE1A-149AB2BC4049}" srcOrd="0" destOrd="2" presId="urn:microsoft.com/office/officeart/2005/8/layout/hList3"/>
    <dgm:cxn modelId="{FBB3A520-F987-4460-A632-2338BD0BFB1C}" srcId="{DF386ADB-5496-4613-BA27-01607FE65A50}" destId="{1B3EFB1D-BDFC-477D-8527-7B9139516718}" srcOrd="3" destOrd="0" parTransId="{9A20255B-D121-4DC3-9E9D-70D36433AB4B}" sibTransId="{7E5C01B4-E91D-4B21-AAD4-AD96CDA74D99}"/>
    <dgm:cxn modelId="{96E030EF-AF7E-4FA4-904E-A389BD5B384A}" srcId="{DF386ADB-5496-4613-BA27-01607FE65A50}" destId="{F558616C-7DAC-4399-BC61-FE0B5B2006D8}" srcOrd="4" destOrd="0" parTransId="{00DFD020-3923-4446-84DD-251E8DFE3762}" sibTransId="{FA153165-9BCE-42EB-A449-B364C6B05E82}"/>
    <dgm:cxn modelId="{725E470D-22D7-43A3-A57F-7E642DD40D74}" type="presOf" srcId="{2B106889-1BCB-4B82-882C-7189B99676EF}" destId="{3900A069-CE29-4F15-BE1A-149AB2BC4049}" srcOrd="0" destOrd="3" presId="urn:microsoft.com/office/officeart/2005/8/layout/hList3"/>
    <dgm:cxn modelId="{C043CFD5-8F69-4AEA-884B-8CD0B8111DAE}" srcId="{DF386ADB-5496-4613-BA27-01607FE65A50}" destId="{AC58FB73-8A32-4460-8102-9F914690E6CB}" srcOrd="5" destOrd="0" parTransId="{0C151E5E-FAF4-4C3C-9A68-18CE1CAC3430}" sibTransId="{46E7378A-C711-4195-AA55-33DF6A581530}"/>
    <dgm:cxn modelId="{B36BA310-F951-4971-B076-D75F4D1D6CE3}" type="presOf" srcId="{F1121EFD-E9E1-4505-9956-19511E8A0F73}" destId="{283C44FE-1634-4FE4-ACAE-DFE2E0A5D1D2}" srcOrd="0" destOrd="4" presId="urn:microsoft.com/office/officeart/2005/8/layout/hList3"/>
    <dgm:cxn modelId="{07234A5A-B337-490A-9AEF-4376BC4CEC80}" type="presOf" srcId="{0304ED9A-36EB-46C1-9D5D-E3A172F478B6}" destId="{5348AEC6-C7B3-4236-B0CD-1C9CD603280A}" srcOrd="0" destOrd="3" presId="urn:microsoft.com/office/officeart/2005/8/layout/hList3"/>
    <dgm:cxn modelId="{4AFFBCB9-E808-4CD5-8887-94021C814B3C}" srcId="{DF386ADB-5496-4613-BA27-01607FE65A50}" destId="{89FE751C-BEEE-4B1F-9853-DB2E33BCDC97}" srcOrd="1" destOrd="0" parTransId="{DF2B8F98-0C96-4C7F-BD37-829434A2C98F}" sibTransId="{69D718B4-3F1F-4283-B153-E582A2AD3087}"/>
    <dgm:cxn modelId="{9C223B3F-3490-4D52-BD8A-0C082901E937}" type="presOf" srcId="{07E1F265-27B4-4A2A-994F-28E9A84EAA64}" destId="{5348AEC6-C7B3-4236-B0CD-1C9CD603280A}" srcOrd="0" destOrd="4" presId="urn:microsoft.com/office/officeart/2005/8/layout/hList3"/>
    <dgm:cxn modelId="{1D924E98-0CE7-4568-86AC-DDF1689087FF}" srcId="{DF386ADB-5496-4613-BA27-01607FE65A50}" destId="{FF3A02E3-4E1E-4819-8092-D7A8583E4577}" srcOrd="2" destOrd="0" parTransId="{FA669A21-5898-4D72-A279-1ACE733646C6}" sibTransId="{57A7FAF7-EB94-4ADA-BBA7-28962028340B}"/>
    <dgm:cxn modelId="{DF71E364-0E5D-46F4-898F-08889B819D8A}" srcId="{F558616C-7DAC-4399-BC61-FE0B5B2006D8}" destId="{312AEFAC-63CB-4B0A-8579-B0448489D4F1}" srcOrd="0" destOrd="0" parTransId="{B41FABA1-9FFB-43D1-8580-7537A5B459E2}" sibTransId="{C60E89B7-1089-4216-BCFF-D4FCF0BFF582}"/>
    <dgm:cxn modelId="{A718E0DB-4E9B-4ED4-9147-A3A4507FD293}" type="presOf" srcId="{1157DEDE-6C30-4EA6-B15A-CE7277C22A2E}" destId="{668D27D5-2730-4E02-ACF6-6E2F092FE726}" srcOrd="0" destOrd="2" presId="urn:microsoft.com/office/officeart/2005/8/layout/hList3"/>
    <dgm:cxn modelId="{1BD7B92E-47F1-4AA7-B5A1-9757260D4C69}" type="presOf" srcId="{89FE751C-BEEE-4B1F-9853-DB2E33BCDC97}" destId="{283C44FE-1634-4FE4-ACAE-DFE2E0A5D1D2}" srcOrd="0" destOrd="0" presId="urn:microsoft.com/office/officeart/2005/8/layout/hList3"/>
    <dgm:cxn modelId="{4D6C433D-34DB-4369-8A1D-A1DAA0CD2EA4}" type="presOf" srcId="{191722C4-8A66-430D-8CB0-4CB1ECDDBE5A}" destId="{906F832A-F736-41DD-A0D8-021D33FD78C4}" srcOrd="0" destOrd="3" presId="urn:microsoft.com/office/officeart/2005/8/layout/hList3"/>
    <dgm:cxn modelId="{55E3A7BF-FAE1-45C2-82A5-04DDE816C319}" srcId="{DF386ADB-5496-4613-BA27-01607FE65A50}" destId="{6B8124FD-CBAA-4929-92E9-2F6D9BB32747}" srcOrd="0" destOrd="0" parTransId="{AC45D635-880A-4CEB-B5DB-418D8C97BCAF}" sibTransId="{E45A7273-C85F-4FBA-B59B-3978ABF8F507}"/>
    <dgm:cxn modelId="{A5BC9BD6-6C7F-42B7-819D-86FF493307D3}" type="presOf" srcId="{6B8124FD-CBAA-4929-92E9-2F6D9BB32747}" destId="{E90DBFF7-0B84-4BAE-B24C-DF906D298F1B}" srcOrd="0" destOrd="0" presId="urn:microsoft.com/office/officeart/2005/8/layout/hList3"/>
    <dgm:cxn modelId="{8EF3DCD4-7C74-48B6-8B53-E5BC1CE9432A}" srcId="{FF3A02E3-4E1E-4819-8092-D7A8583E4577}" destId="{5D035894-D7C9-4236-BD1E-EDAF49ED1103}" srcOrd="0" destOrd="0" parTransId="{A095A3E5-A0F8-405E-AE36-0095FA629D2D}" sibTransId="{15DE51C6-4EBE-4325-A31A-8DD3623005D0}"/>
    <dgm:cxn modelId="{2BD698EF-2F9E-4DBC-BECF-2F181DC75B8A}" type="presOf" srcId="{C99FE79B-6252-48BF-876F-75F01D59DF5D}" destId="{5348AEC6-C7B3-4236-B0CD-1C9CD603280A}" srcOrd="0" destOrd="2" presId="urn:microsoft.com/office/officeart/2005/8/layout/hList3"/>
    <dgm:cxn modelId="{B356ABC5-7BA7-4D29-A19E-73F33A9151A6}" srcId="{1B3EFB1D-BDFC-477D-8527-7B9139516718}" destId="{BA8A4489-3E46-48B9-BBB6-B8FD4EFE5BC5}" srcOrd="0" destOrd="0" parTransId="{5E651345-232C-4671-9765-BCB82B027822}" sibTransId="{700B10C8-F2D0-4CFE-BE16-709B70215F6E}"/>
    <dgm:cxn modelId="{A0D8ED10-1D8F-45C3-8256-0C52615B0BF8}" type="presOf" srcId="{DF386ADB-5496-4613-BA27-01607FE65A50}" destId="{E3A292DC-87CC-4CC5-8868-A5C292B5CDAC}" srcOrd="0" destOrd="0" presId="urn:microsoft.com/office/officeart/2005/8/layout/hList3"/>
    <dgm:cxn modelId="{1D0DFD3F-A302-4730-9EDE-165D2B9547CE}" type="presOf" srcId="{C673AF29-5BC9-46A3-A88F-280437C4910E}" destId="{10C02D09-4ADB-4C12-A3FB-AC3A42D3C7AC}" srcOrd="0" destOrd="0" presId="urn:microsoft.com/office/officeart/2005/8/layout/hList3"/>
    <dgm:cxn modelId="{40BCC806-598E-4CBB-A742-4399AF379D98}" type="presOf" srcId="{F558616C-7DAC-4399-BC61-FE0B5B2006D8}" destId="{668D27D5-2730-4E02-ACF6-6E2F092FE726}" srcOrd="0" destOrd="0" presId="urn:microsoft.com/office/officeart/2005/8/layout/hList3"/>
    <dgm:cxn modelId="{BEF2940C-90C1-4EAD-8F1B-04E8E8D38698}" srcId="{F558616C-7DAC-4399-BC61-FE0B5B2006D8}" destId="{E1731935-2025-4556-A614-A671082B005C}" srcOrd="2" destOrd="0" parTransId="{4416EF3D-7196-42FE-9764-BD14170C3A49}" sibTransId="{F3C0F6C1-933D-4B7F-8193-9EE71F842B68}"/>
    <dgm:cxn modelId="{6EB8E892-B513-4791-A980-64AE057F2C42}" type="presOf" srcId="{BA8A4489-3E46-48B9-BBB6-B8FD4EFE5BC5}" destId="{5348AEC6-C7B3-4236-B0CD-1C9CD603280A}" srcOrd="0" destOrd="1" presId="urn:microsoft.com/office/officeart/2005/8/layout/hList3"/>
    <dgm:cxn modelId="{343AD282-0CCD-410F-BB7D-503791F98D4E}" srcId="{6B8124FD-CBAA-4929-92E9-2F6D9BB32747}" destId="{0FC2A1F9-63DA-431E-BC89-B0AEA2F60DA8}" srcOrd="1" destOrd="0" parTransId="{91045A65-0AAE-4A8D-810B-3F339DD62FBF}" sibTransId="{8F6CD35B-8C80-4449-9813-E29D61479D85}"/>
    <dgm:cxn modelId="{A2C32C92-9C86-4214-92F1-191AF5259F40}" type="presParOf" srcId="{10C02D09-4ADB-4C12-A3FB-AC3A42D3C7AC}" destId="{E3A292DC-87CC-4CC5-8868-A5C292B5CDAC}" srcOrd="0" destOrd="0" presId="urn:microsoft.com/office/officeart/2005/8/layout/hList3"/>
    <dgm:cxn modelId="{FFE8A38B-8746-435E-A327-029D39096FC6}" type="presParOf" srcId="{10C02D09-4ADB-4C12-A3FB-AC3A42D3C7AC}" destId="{A344F421-F13F-43FE-BDC3-C460BB5174F6}" srcOrd="1" destOrd="0" presId="urn:microsoft.com/office/officeart/2005/8/layout/hList3"/>
    <dgm:cxn modelId="{C74AA109-E3CD-4E6E-8DF6-A58F4F8547CB}" type="presParOf" srcId="{A344F421-F13F-43FE-BDC3-C460BB5174F6}" destId="{E90DBFF7-0B84-4BAE-B24C-DF906D298F1B}" srcOrd="0" destOrd="0" presId="urn:microsoft.com/office/officeart/2005/8/layout/hList3"/>
    <dgm:cxn modelId="{4ECA2CD5-61E6-42BE-8168-9D979AE93A21}" type="presParOf" srcId="{A344F421-F13F-43FE-BDC3-C460BB5174F6}" destId="{283C44FE-1634-4FE4-ACAE-DFE2E0A5D1D2}" srcOrd="1" destOrd="0" presId="urn:microsoft.com/office/officeart/2005/8/layout/hList3"/>
    <dgm:cxn modelId="{29AD0889-3702-4BEB-9B83-B59BA51A01F8}" type="presParOf" srcId="{A344F421-F13F-43FE-BDC3-C460BB5174F6}" destId="{3900A069-CE29-4F15-BE1A-149AB2BC4049}" srcOrd="2" destOrd="0" presId="urn:microsoft.com/office/officeart/2005/8/layout/hList3"/>
    <dgm:cxn modelId="{6F45987F-8612-4D5F-A7BA-5F2A127C1B27}" type="presParOf" srcId="{A344F421-F13F-43FE-BDC3-C460BB5174F6}" destId="{5348AEC6-C7B3-4236-B0CD-1C9CD603280A}" srcOrd="3" destOrd="0" presId="urn:microsoft.com/office/officeart/2005/8/layout/hList3"/>
    <dgm:cxn modelId="{C906C918-0E26-44F2-B2BB-639C0E73B3C7}" type="presParOf" srcId="{A344F421-F13F-43FE-BDC3-C460BB5174F6}" destId="{668D27D5-2730-4E02-ACF6-6E2F092FE726}" srcOrd="4" destOrd="0" presId="urn:microsoft.com/office/officeart/2005/8/layout/hList3"/>
    <dgm:cxn modelId="{CAC0777D-C967-47ED-8A55-0E983A1B29CD}" type="presParOf" srcId="{A344F421-F13F-43FE-BDC3-C460BB5174F6}" destId="{906F832A-F736-41DD-A0D8-021D33FD78C4}" srcOrd="5" destOrd="0" presId="urn:microsoft.com/office/officeart/2005/8/layout/hList3"/>
    <dgm:cxn modelId="{74231F31-5E53-476A-A912-2D6320D8D8F4}" type="presParOf" srcId="{10C02D09-4ADB-4C12-A3FB-AC3A42D3C7AC}" destId="{7F702D3C-C963-416C-B7F7-2AB847AD9E04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BBD4A0C-0585-4089-8107-161854F997DF}" type="doc">
      <dgm:prSet loTypeId="urn:microsoft.com/office/officeart/2005/8/layout/vList2" loCatId="list" qsTypeId="urn:microsoft.com/office/officeart/2005/8/quickstyle/3d4" qsCatId="3D" csTypeId="urn:microsoft.com/office/officeart/2005/8/colors/accent4_5" csCatId="accent4" phldr="1"/>
      <dgm:spPr/>
      <dgm:t>
        <a:bodyPr/>
        <a:lstStyle/>
        <a:p>
          <a:endParaRPr lang="pt-BR"/>
        </a:p>
      </dgm:t>
    </dgm:pt>
    <dgm:pt modelId="{B2B18835-EE83-4AFB-9704-E159B2987370}">
      <dgm:prSet/>
      <dgm:spPr/>
      <dgm:t>
        <a:bodyPr/>
        <a:lstStyle/>
        <a:p>
          <a:pPr rtl="0"/>
          <a:r>
            <a:rPr lang="pt-PT" dirty="0" smtClean="0"/>
            <a:t>Frequências: </a:t>
          </a:r>
          <a:endParaRPr lang="pt-BR" dirty="0"/>
        </a:p>
      </dgm:t>
    </dgm:pt>
    <dgm:pt modelId="{43BDD395-7507-4607-98B8-356F4D4461E7}" type="parTrans" cxnId="{3CCFA31B-53D2-4EE5-A310-7F29937787DA}">
      <dgm:prSet/>
      <dgm:spPr/>
      <dgm:t>
        <a:bodyPr/>
        <a:lstStyle/>
        <a:p>
          <a:endParaRPr lang="pt-BR"/>
        </a:p>
      </dgm:t>
    </dgm:pt>
    <dgm:pt modelId="{5DC4C1B3-66FF-4668-A523-0067C8CB3E61}" type="sibTrans" cxnId="{3CCFA31B-53D2-4EE5-A310-7F29937787DA}">
      <dgm:prSet/>
      <dgm:spPr/>
      <dgm:t>
        <a:bodyPr/>
        <a:lstStyle/>
        <a:p>
          <a:endParaRPr lang="pt-BR"/>
        </a:p>
      </dgm:t>
    </dgm:pt>
    <dgm:pt modelId="{B4D64D60-5DCC-42D2-BB98-4894A0F57EE8}">
      <dgm:prSet/>
      <dgm:spPr/>
      <dgm:t>
        <a:bodyPr/>
        <a:lstStyle/>
        <a:p>
          <a:pPr rtl="0"/>
          <a:r>
            <a:rPr lang="pt-PT" dirty="0" smtClean="0">
              <a:solidFill>
                <a:schemeClr val="bg1"/>
              </a:solidFill>
            </a:rPr>
            <a:t>700 MHz (10+10) </a:t>
          </a:r>
          <a:endParaRPr lang="pt-BR" dirty="0">
            <a:solidFill>
              <a:schemeClr val="bg1"/>
            </a:solidFill>
          </a:endParaRPr>
        </a:p>
      </dgm:t>
    </dgm:pt>
    <dgm:pt modelId="{7BBAFB97-E9DA-411A-9047-DE35EDBF1157}" type="parTrans" cxnId="{26D85209-7C8A-4EE4-8BDF-0C3F6C80D1F0}">
      <dgm:prSet/>
      <dgm:spPr/>
      <dgm:t>
        <a:bodyPr/>
        <a:lstStyle/>
        <a:p>
          <a:endParaRPr lang="pt-BR"/>
        </a:p>
      </dgm:t>
    </dgm:pt>
    <dgm:pt modelId="{0530E399-4249-4F10-957A-230B48EC2B33}" type="sibTrans" cxnId="{26D85209-7C8A-4EE4-8BDF-0C3F6C80D1F0}">
      <dgm:prSet/>
      <dgm:spPr/>
      <dgm:t>
        <a:bodyPr/>
        <a:lstStyle/>
        <a:p>
          <a:endParaRPr lang="pt-BR"/>
        </a:p>
      </dgm:t>
    </dgm:pt>
    <dgm:pt modelId="{AC866493-E1E9-4934-9492-6478DF4DBD42}">
      <dgm:prSet/>
      <dgm:spPr/>
      <dgm:t>
        <a:bodyPr/>
        <a:lstStyle/>
        <a:p>
          <a:pPr rtl="0"/>
          <a:r>
            <a:rPr lang="pt-PT" dirty="0" smtClean="0">
              <a:solidFill>
                <a:schemeClr val="bg1"/>
              </a:solidFill>
            </a:rPr>
            <a:t>2,3 GHz (50+40)</a:t>
          </a:r>
          <a:endParaRPr lang="pt-BR" dirty="0">
            <a:solidFill>
              <a:schemeClr val="bg1"/>
            </a:solidFill>
          </a:endParaRPr>
        </a:p>
      </dgm:t>
    </dgm:pt>
    <dgm:pt modelId="{C3B72C2C-8024-4B01-8B24-8C2144B790F1}" type="parTrans" cxnId="{382C2558-4CA9-4E59-82C7-7093B5CFA6B1}">
      <dgm:prSet/>
      <dgm:spPr/>
      <dgm:t>
        <a:bodyPr/>
        <a:lstStyle/>
        <a:p>
          <a:endParaRPr lang="pt-BR"/>
        </a:p>
      </dgm:t>
    </dgm:pt>
    <dgm:pt modelId="{39CCDCC9-66CA-49E6-A2D3-D400F5FA4C8E}" type="sibTrans" cxnId="{382C2558-4CA9-4E59-82C7-7093B5CFA6B1}">
      <dgm:prSet/>
      <dgm:spPr/>
      <dgm:t>
        <a:bodyPr/>
        <a:lstStyle/>
        <a:p>
          <a:endParaRPr lang="pt-BR"/>
        </a:p>
      </dgm:t>
    </dgm:pt>
    <dgm:pt modelId="{3D6BF18C-E86F-4B79-821A-8CA2DE7DF5F6}">
      <dgm:prSet/>
      <dgm:spPr/>
      <dgm:t>
        <a:bodyPr/>
        <a:lstStyle/>
        <a:p>
          <a:pPr rtl="0"/>
          <a:r>
            <a:rPr lang="pt-PT" dirty="0" smtClean="0">
              <a:solidFill>
                <a:schemeClr val="bg1"/>
              </a:solidFill>
            </a:rPr>
            <a:t>3,5 GHz (400 MHZ) 5 blocos de 80 Mhz em 7 regiões</a:t>
          </a:r>
          <a:endParaRPr lang="pt-BR" dirty="0">
            <a:solidFill>
              <a:schemeClr val="bg1"/>
            </a:solidFill>
          </a:endParaRPr>
        </a:p>
      </dgm:t>
    </dgm:pt>
    <dgm:pt modelId="{2C66D69E-5EB4-40DF-A787-5F22BED29AC8}" type="parTrans" cxnId="{F753834C-B3BE-4B1A-9EA8-ED06D94B52B7}">
      <dgm:prSet/>
      <dgm:spPr/>
      <dgm:t>
        <a:bodyPr/>
        <a:lstStyle/>
        <a:p>
          <a:endParaRPr lang="pt-BR"/>
        </a:p>
      </dgm:t>
    </dgm:pt>
    <dgm:pt modelId="{1A0EC066-017E-4FDA-B0F6-92AFE73222F5}" type="sibTrans" cxnId="{F753834C-B3BE-4B1A-9EA8-ED06D94B52B7}">
      <dgm:prSet/>
      <dgm:spPr/>
      <dgm:t>
        <a:bodyPr/>
        <a:lstStyle/>
        <a:p>
          <a:endParaRPr lang="pt-BR"/>
        </a:p>
      </dgm:t>
    </dgm:pt>
    <dgm:pt modelId="{F79BE147-49B7-4E50-94EF-73E0CF5625BB}">
      <dgm:prSet/>
      <dgm:spPr/>
      <dgm:t>
        <a:bodyPr/>
        <a:lstStyle/>
        <a:p>
          <a:pPr rtl="0"/>
          <a:r>
            <a:rPr lang="pt-PT" dirty="0" smtClean="0">
              <a:solidFill>
                <a:schemeClr val="bg1"/>
              </a:solidFill>
            </a:rPr>
            <a:t>26 GHz (3200 MHZ) 8 blocos de 400MHz sendo 3 regionais para PPPs</a:t>
          </a:r>
          <a:endParaRPr lang="pt-BR" dirty="0">
            <a:solidFill>
              <a:schemeClr val="bg1"/>
            </a:solidFill>
          </a:endParaRPr>
        </a:p>
      </dgm:t>
    </dgm:pt>
    <dgm:pt modelId="{9F8CADB0-D082-4619-B427-CB166ED2A273}" type="parTrans" cxnId="{C1E7A93E-8182-4E28-B7C5-9A9E9B41098A}">
      <dgm:prSet/>
      <dgm:spPr/>
      <dgm:t>
        <a:bodyPr/>
        <a:lstStyle/>
        <a:p>
          <a:endParaRPr lang="pt-BR"/>
        </a:p>
      </dgm:t>
    </dgm:pt>
    <dgm:pt modelId="{95ABFD75-2D2A-47AF-90A0-223FE00AE08F}" type="sibTrans" cxnId="{C1E7A93E-8182-4E28-B7C5-9A9E9B41098A}">
      <dgm:prSet/>
      <dgm:spPr/>
      <dgm:t>
        <a:bodyPr/>
        <a:lstStyle/>
        <a:p>
          <a:endParaRPr lang="pt-BR"/>
        </a:p>
      </dgm:t>
    </dgm:pt>
    <dgm:pt modelId="{C08EEE9D-A476-4C0C-9CD8-AA0DA509B2F9}">
      <dgm:prSet/>
      <dgm:spPr/>
      <dgm:t>
        <a:bodyPr/>
        <a:lstStyle/>
        <a:p>
          <a:pPr rtl="0"/>
          <a:r>
            <a:rPr lang="en-US" dirty="0" smtClean="0"/>
            <a:t>C</a:t>
          </a:r>
          <a:r>
            <a:rPr lang="pt-PT" dirty="0" smtClean="0"/>
            <a:t>ompromissos (</a:t>
          </a:r>
          <a:r>
            <a:rPr lang="pt-BR" dirty="0" smtClean="0"/>
            <a:t>modelagem 5G, </a:t>
          </a:r>
          <a:r>
            <a:rPr lang="pt-BR" dirty="0" err="1" smtClean="0"/>
            <a:t>backhaul</a:t>
          </a:r>
          <a:r>
            <a:rPr lang="pt-BR" dirty="0" smtClean="0"/>
            <a:t> óptico, cobertura 3G e 4G ampliada por distrito, cobertura de estradas, migração/mitigação TVRO)</a:t>
          </a:r>
          <a:endParaRPr lang="pt-BR" dirty="0"/>
        </a:p>
      </dgm:t>
    </dgm:pt>
    <dgm:pt modelId="{8EAF22C1-8621-49BB-9C22-A3CE34EF947D}" type="parTrans" cxnId="{9C66421E-D63E-44AB-8516-F1F2D2DFD53B}">
      <dgm:prSet/>
      <dgm:spPr/>
      <dgm:t>
        <a:bodyPr/>
        <a:lstStyle/>
        <a:p>
          <a:endParaRPr lang="pt-BR"/>
        </a:p>
      </dgm:t>
    </dgm:pt>
    <dgm:pt modelId="{05B827B5-C3CB-49F1-926F-3CF7B6DD9D4E}" type="sibTrans" cxnId="{9C66421E-D63E-44AB-8516-F1F2D2DFD53B}">
      <dgm:prSet/>
      <dgm:spPr/>
      <dgm:t>
        <a:bodyPr/>
        <a:lstStyle/>
        <a:p>
          <a:endParaRPr lang="pt-BR"/>
        </a:p>
      </dgm:t>
    </dgm:pt>
    <dgm:pt modelId="{A42CE753-0B78-47E2-9A4D-1C0C1EA5AD50}">
      <dgm:prSet/>
      <dgm:spPr/>
      <dgm:t>
        <a:bodyPr/>
        <a:lstStyle/>
        <a:p>
          <a:r>
            <a:rPr lang="pt-BR" b="0" i="0" dirty="0" smtClean="0"/>
            <a:t>27 capitais brasileiras até julho de 2022*</a:t>
          </a:r>
          <a:endParaRPr lang="pt-BR" dirty="0"/>
        </a:p>
      </dgm:t>
    </dgm:pt>
    <dgm:pt modelId="{90A10285-1B33-4B41-8D33-E18D377E96CF}" type="parTrans" cxnId="{A344EC05-8971-4837-AE86-CA8A0B692F38}">
      <dgm:prSet/>
      <dgm:spPr/>
      <dgm:t>
        <a:bodyPr/>
        <a:lstStyle/>
        <a:p>
          <a:endParaRPr lang="pt-BR"/>
        </a:p>
      </dgm:t>
    </dgm:pt>
    <dgm:pt modelId="{4F2BE31F-7B7A-425A-B092-83C13A568D48}" type="sibTrans" cxnId="{A344EC05-8971-4837-AE86-CA8A0B692F38}">
      <dgm:prSet/>
      <dgm:spPr/>
      <dgm:t>
        <a:bodyPr/>
        <a:lstStyle/>
        <a:p>
          <a:endParaRPr lang="pt-BR"/>
        </a:p>
      </dgm:t>
    </dgm:pt>
    <dgm:pt modelId="{520DB43C-0446-4846-B35F-AA3F5F1F5D0D}">
      <dgm:prSet/>
      <dgm:spPr/>
      <dgm:t>
        <a:bodyPr/>
        <a:lstStyle/>
        <a:p>
          <a:pPr rtl="0"/>
          <a:r>
            <a:rPr lang="pt-BR" dirty="0" smtClean="0">
              <a:solidFill>
                <a:schemeClr val="bg1"/>
              </a:solidFill>
            </a:rPr>
            <a:t>Desafios: Cerca de 10x mais antenas em grandes centros (embora menores); e ampliação das redes de fibra</a:t>
          </a:r>
          <a:endParaRPr lang="pt-BR" dirty="0">
            <a:solidFill>
              <a:schemeClr val="bg1"/>
            </a:solidFill>
          </a:endParaRPr>
        </a:p>
      </dgm:t>
    </dgm:pt>
    <dgm:pt modelId="{58ABBE5E-CD5F-4552-81D1-F6A4B17ED30A}" type="parTrans" cxnId="{759AF916-A149-489B-BCDB-58B1D7C77DA5}">
      <dgm:prSet/>
      <dgm:spPr/>
      <dgm:t>
        <a:bodyPr/>
        <a:lstStyle/>
        <a:p>
          <a:endParaRPr lang="pt-BR"/>
        </a:p>
      </dgm:t>
    </dgm:pt>
    <dgm:pt modelId="{1C2278DF-0BFA-468F-8DCE-2FA21ECE2AE5}" type="sibTrans" cxnId="{759AF916-A149-489B-BCDB-58B1D7C77DA5}">
      <dgm:prSet/>
      <dgm:spPr/>
      <dgm:t>
        <a:bodyPr/>
        <a:lstStyle/>
        <a:p>
          <a:endParaRPr lang="pt-BR"/>
        </a:p>
      </dgm:t>
    </dgm:pt>
    <dgm:pt modelId="{DDBA7BAB-3F39-46A2-94A5-49DC758F11B0}">
      <dgm:prSet/>
      <dgm:spPr/>
      <dgm:t>
        <a:bodyPr/>
        <a:lstStyle/>
        <a:p>
          <a:r>
            <a:rPr lang="pt-BR" dirty="0" smtClean="0">
              <a:solidFill>
                <a:schemeClr val="bg1"/>
              </a:solidFill>
            </a:rPr>
            <a:t>Escalonamento de cobertura por </a:t>
          </a:r>
          <a:r>
            <a:rPr lang="pt-BR" dirty="0" err="1" smtClean="0">
              <a:solidFill>
                <a:schemeClr val="bg1"/>
              </a:solidFill>
            </a:rPr>
            <a:t>qtd</a:t>
          </a:r>
          <a:r>
            <a:rPr lang="pt-BR" dirty="0" smtClean="0">
              <a:solidFill>
                <a:schemeClr val="bg1"/>
              </a:solidFill>
            </a:rPr>
            <a:t> de habitantes (1BS/100k </a:t>
          </a:r>
          <a:r>
            <a:rPr lang="pt-BR" dirty="0" smtClean="0">
              <a:solidFill>
                <a:schemeClr val="bg1"/>
              </a:solidFill>
              <a:sym typeface="Wingdings" panose="05000000000000000000" pitchFamily="2" charset="2"/>
            </a:rPr>
            <a:t> </a:t>
          </a:r>
          <a:r>
            <a:rPr lang="pt-BR" dirty="0" smtClean="0">
              <a:solidFill>
                <a:schemeClr val="bg1"/>
              </a:solidFill>
            </a:rPr>
            <a:t>2022; 1BS/50k </a:t>
          </a:r>
          <a:r>
            <a:rPr lang="pt-BR" dirty="0" smtClean="0">
              <a:solidFill>
                <a:schemeClr val="bg1"/>
              </a:solidFill>
              <a:sym typeface="Wingdings" panose="05000000000000000000" pitchFamily="2" charset="2"/>
            </a:rPr>
            <a:t> 2023; 1BS/30k  2024; e 1BS/10k  2025)</a:t>
          </a:r>
          <a:endParaRPr lang="pt-BR" dirty="0">
            <a:solidFill>
              <a:schemeClr val="bg1"/>
            </a:solidFill>
          </a:endParaRPr>
        </a:p>
      </dgm:t>
    </dgm:pt>
    <dgm:pt modelId="{66876C6A-625E-412D-8B0B-213851B1713F}" type="parTrans" cxnId="{2F2F8941-C07A-467F-A609-0179EF73A101}">
      <dgm:prSet/>
      <dgm:spPr/>
      <dgm:t>
        <a:bodyPr/>
        <a:lstStyle/>
        <a:p>
          <a:endParaRPr lang="pt-BR"/>
        </a:p>
      </dgm:t>
    </dgm:pt>
    <dgm:pt modelId="{6E53A22D-FCD5-4EB3-AF8F-594862555EED}" type="sibTrans" cxnId="{2F2F8941-C07A-467F-A609-0179EF73A101}">
      <dgm:prSet/>
      <dgm:spPr/>
      <dgm:t>
        <a:bodyPr/>
        <a:lstStyle/>
        <a:p>
          <a:endParaRPr lang="pt-BR"/>
        </a:p>
      </dgm:t>
    </dgm:pt>
    <dgm:pt modelId="{7522D27F-21A9-4C10-8B30-4DC8062B4D84}">
      <dgm:prSet/>
      <dgm:spPr/>
      <dgm:t>
        <a:bodyPr/>
        <a:lstStyle/>
        <a:p>
          <a:pPr rtl="0"/>
          <a:r>
            <a:rPr lang="pt-PT" dirty="0" smtClean="0"/>
            <a:t>Leilão predominantemente não arrecadatório</a:t>
          </a:r>
          <a:endParaRPr lang="pt-BR" dirty="0"/>
        </a:p>
      </dgm:t>
    </dgm:pt>
    <dgm:pt modelId="{C9D5A697-4788-4D1F-BDC3-0E2A7715F30F}" type="parTrans" cxnId="{F497AF59-FA3D-4814-8D83-E9814DB12027}">
      <dgm:prSet/>
      <dgm:spPr/>
      <dgm:t>
        <a:bodyPr/>
        <a:lstStyle/>
        <a:p>
          <a:endParaRPr lang="pt-BR"/>
        </a:p>
      </dgm:t>
    </dgm:pt>
    <dgm:pt modelId="{CA2AB664-B3EF-4CB1-B7D5-B00732634158}" type="sibTrans" cxnId="{F497AF59-FA3D-4814-8D83-E9814DB12027}">
      <dgm:prSet/>
      <dgm:spPr/>
      <dgm:t>
        <a:bodyPr/>
        <a:lstStyle/>
        <a:p>
          <a:endParaRPr lang="pt-BR"/>
        </a:p>
      </dgm:t>
    </dgm:pt>
    <dgm:pt modelId="{4F6FBB28-598B-4E33-9220-2B6A12D17774}">
      <dgm:prSet/>
      <dgm:spPr/>
      <dgm:t>
        <a:bodyPr/>
        <a:lstStyle/>
        <a:p>
          <a:pPr rtl="0"/>
          <a:endParaRPr lang="pt-BR" dirty="0"/>
        </a:p>
      </dgm:t>
    </dgm:pt>
    <dgm:pt modelId="{CD915E37-B5BC-49C0-9640-F3D3FC8D133A}" type="parTrans" cxnId="{1D930495-C5C7-493D-91E6-D5FCA722E323}">
      <dgm:prSet/>
      <dgm:spPr/>
      <dgm:t>
        <a:bodyPr/>
        <a:lstStyle/>
        <a:p>
          <a:endParaRPr lang="pt-BR"/>
        </a:p>
      </dgm:t>
    </dgm:pt>
    <dgm:pt modelId="{781F06C0-052B-4279-BE8D-A6EFAE938221}" type="sibTrans" cxnId="{1D930495-C5C7-493D-91E6-D5FCA722E323}">
      <dgm:prSet/>
      <dgm:spPr/>
      <dgm:t>
        <a:bodyPr/>
        <a:lstStyle/>
        <a:p>
          <a:endParaRPr lang="pt-BR"/>
        </a:p>
      </dgm:t>
    </dgm:pt>
    <dgm:pt modelId="{CC90E87F-1A3F-49ED-99FE-B244C03A42D1}" type="pres">
      <dgm:prSet presAssocID="{BBBD4A0C-0585-4089-8107-161854F997D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419BC7F1-798E-4DB6-92EF-2919ABF9E231}" type="pres">
      <dgm:prSet presAssocID="{7522D27F-21A9-4C10-8B30-4DC8062B4D84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EB1CAA1-AFC0-4C5F-B235-7DD93579CCFF}" type="pres">
      <dgm:prSet presAssocID="{7522D27F-21A9-4C10-8B30-4DC8062B4D84}" presName="childText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8143C3-3107-44EE-BFDD-903A4B4A3E05}" type="pres">
      <dgm:prSet presAssocID="{A42CE753-0B78-47E2-9A4D-1C0C1EA5AD50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B9DF1FF-19D3-467B-85C4-1D69CEDAEFD8}" type="pres">
      <dgm:prSet presAssocID="{A42CE753-0B78-47E2-9A4D-1C0C1EA5AD50}" presName="childText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F15F9B7-8472-4EAB-B8B8-F99E53E145A2}" type="pres">
      <dgm:prSet presAssocID="{B2B18835-EE83-4AFB-9704-E159B2987370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F1C29EA-9EBE-4DE6-9E14-E987D434B9D4}" type="pres">
      <dgm:prSet presAssocID="{B2B18835-EE83-4AFB-9704-E159B2987370}" presName="childText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70D5EC-5A75-47C5-9C4E-24760ACB1E05}" type="pres">
      <dgm:prSet presAssocID="{C08EEE9D-A476-4C0C-9CD8-AA0DA509B2F9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5F2F53C-6F7D-41C4-8657-A238D4AEEA68}" type="pres">
      <dgm:prSet presAssocID="{C08EEE9D-A476-4C0C-9CD8-AA0DA509B2F9}" presName="childText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382C2558-4CA9-4E59-82C7-7093B5CFA6B1}" srcId="{B2B18835-EE83-4AFB-9704-E159B2987370}" destId="{AC866493-E1E9-4934-9492-6478DF4DBD42}" srcOrd="1" destOrd="0" parTransId="{C3B72C2C-8024-4B01-8B24-8C2144B790F1}" sibTransId="{39CCDCC9-66CA-49E6-A2D3-D400F5FA4C8E}"/>
    <dgm:cxn modelId="{471DA93B-7C59-4D73-A076-49677AC55D4D}" type="presOf" srcId="{A42CE753-0B78-47E2-9A4D-1C0C1EA5AD50}" destId="{4C8143C3-3107-44EE-BFDD-903A4B4A3E05}" srcOrd="0" destOrd="0" presId="urn:microsoft.com/office/officeart/2005/8/layout/vList2"/>
    <dgm:cxn modelId="{9BE594EB-5345-4BB4-B911-9AF1BBFA0EB0}" type="presOf" srcId="{520DB43C-0446-4846-B35F-AA3F5F1F5D0D}" destId="{F5F2F53C-6F7D-41C4-8657-A238D4AEEA68}" srcOrd="0" destOrd="0" presId="urn:microsoft.com/office/officeart/2005/8/layout/vList2"/>
    <dgm:cxn modelId="{9C66421E-D63E-44AB-8516-F1F2D2DFD53B}" srcId="{BBBD4A0C-0585-4089-8107-161854F997DF}" destId="{C08EEE9D-A476-4C0C-9CD8-AA0DA509B2F9}" srcOrd="3" destOrd="0" parTransId="{8EAF22C1-8621-49BB-9C22-A3CE34EF947D}" sibTransId="{05B827B5-C3CB-49F1-926F-3CF7B6DD9D4E}"/>
    <dgm:cxn modelId="{042AE519-A14E-4E32-A074-90E3A98747D2}" type="presOf" srcId="{7522D27F-21A9-4C10-8B30-4DC8062B4D84}" destId="{419BC7F1-798E-4DB6-92EF-2919ABF9E231}" srcOrd="0" destOrd="0" presId="urn:microsoft.com/office/officeart/2005/8/layout/vList2"/>
    <dgm:cxn modelId="{A344EC05-8971-4837-AE86-CA8A0B692F38}" srcId="{BBBD4A0C-0585-4089-8107-161854F997DF}" destId="{A42CE753-0B78-47E2-9A4D-1C0C1EA5AD50}" srcOrd="1" destOrd="0" parTransId="{90A10285-1B33-4B41-8D33-E18D377E96CF}" sibTransId="{4F2BE31F-7B7A-425A-B092-83C13A568D48}"/>
    <dgm:cxn modelId="{3CCFA31B-53D2-4EE5-A310-7F29937787DA}" srcId="{BBBD4A0C-0585-4089-8107-161854F997DF}" destId="{B2B18835-EE83-4AFB-9704-E159B2987370}" srcOrd="2" destOrd="0" parTransId="{43BDD395-7507-4607-98B8-356F4D4461E7}" sibTransId="{5DC4C1B3-66FF-4668-A523-0067C8CB3E61}"/>
    <dgm:cxn modelId="{C1E7A93E-8182-4E28-B7C5-9A9E9B41098A}" srcId="{B2B18835-EE83-4AFB-9704-E159B2987370}" destId="{F79BE147-49B7-4E50-94EF-73E0CF5625BB}" srcOrd="3" destOrd="0" parTransId="{9F8CADB0-D082-4619-B427-CB166ED2A273}" sibTransId="{95ABFD75-2D2A-47AF-90A0-223FE00AE08F}"/>
    <dgm:cxn modelId="{F72A856A-C2C5-4051-9FBC-4A129F4F52AB}" type="presOf" srcId="{BBBD4A0C-0585-4089-8107-161854F997DF}" destId="{CC90E87F-1A3F-49ED-99FE-B244C03A42D1}" srcOrd="0" destOrd="0" presId="urn:microsoft.com/office/officeart/2005/8/layout/vList2"/>
    <dgm:cxn modelId="{41C0B8B4-E4C9-4A84-87F2-41706457E030}" type="presOf" srcId="{F79BE147-49B7-4E50-94EF-73E0CF5625BB}" destId="{5F1C29EA-9EBE-4DE6-9E14-E987D434B9D4}" srcOrd="0" destOrd="3" presId="urn:microsoft.com/office/officeart/2005/8/layout/vList2"/>
    <dgm:cxn modelId="{26D85209-7C8A-4EE4-8BDF-0C3F6C80D1F0}" srcId="{B2B18835-EE83-4AFB-9704-E159B2987370}" destId="{B4D64D60-5DCC-42D2-BB98-4894A0F57EE8}" srcOrd="0" destOrd="0" parTransId="{7BBAFB97-E9DA-411A-9047-DE35EDBF1157}" sibTransId="{0530E399-4249-4F10-957A-230B48EC2B33}"/>
    <dgm:cxn modelId="{F753834C-B3BE-4B1A-9EA8-ED06D94B52B7}" srcId="{B2B18835-EE83-4AFB-9704-E159B2987370}" destId="{3D6BF18C-E86F-4B79-821A-8CA2DE7DF5F6}" srcOrd="2" destOrd="0" parTransId="{2C66D69E-5EB4-40DF-A787-5F22BED29AC8}" sibTransId="{1A0EC066-017E-4FDA-B0F6-92AFE73222F5}"/>
    <dgm:cxn modelId="{6FCAEC0D-D35B-4547-A9BD-620B2AEAD8F7}" type="presOf" srcId="{B2B18835-EE83-4AFB-9704-E159B2987370}" destId="{EF15F9B7-8472-4EAB-B8B8-F99E53E145A2}" srcOrd="0" destOrd="0" presId="urn:microsoft.com/office/officeart/2005/8/layout/vList2"/>
    <dgm:cxn modelId="{759AF916-A149-489B-BCDB-58B1D7C77DA5}" srcId="{C08EEE9D-A476-4C0C-9CD8-AA0DA509B2F9}" destId="{520DB43C-0446-4846-B35F-AA3F5F1F5D0D}" srcOrd="0" destOrd="0" parTransId="{58ABBE5E-CD5F-4552-81D1-F6A4B17ED30A}" sibTransId="{1C2278DF-0BFA-468F-8DCE-2FA21ECE2AE5}"/>
    <dgm:cxn modelId="{D6034561-0D7C-4FD5-9623-27CC12D6F7ED}" type="presOf" srcId="{DDBA7BAB-3F39-46A2-94A5-49DC758F11B0}" destId="{9B9DF1FF-19D3-467B-85C4-1D69CEDAEFD8}" srcOrd="0" destOrd="0" presId="urn:microsoft.com/office/officeart/2005/8/layout/vList2"/>
    <dgm:cxn modelId="{1D930495-C5C7-493D-91E6-D5FCA722E323}" srcId="{7522D27F-21A9-4C10-8B30-4DC8062B4D84}" destId="{4F6FBB28-598B-4E33-9220-2B6A12D17774}" srcOrd="0" destOrd="0" parTransId="{CD915E37-B5BC-49C0-9640-F3D3FC8D133A}" sibTransId="{781F06C0-052B-4279-BE8D-A6EFAE938221}"/>
    <dgm:cxn modelId="{F497AF59-FA3D-4814-8D83-E9814DB12027}" srcId="{BBBD4A0C-0585-4089-8107-161854F997DF}" destId="{7522D27F-21A9-4C10-8B30-4DC8062B4D84}" srcOrd="0" destOrd="0" parTransId="{C9D5A697-4788-4D1F-BDC3-0E2A7715F30F}" sibTransId="{CA2AB664-B3EF-4CB1-B7D5-B00732634158}"/>
    <dgm:cxn modelId="{0FAFA623-A399-4853-9666-C3FF723A3F33}" type="presOf" srcId="{B4D64D60-5DCC-42D2-BB98-4894A0F57EE8}" destId="{5F1C29EA-9EBE-4DE6-9E14-E987D434B9D4}" srcOrd="0" destOrd="0" presId="urn:microsoft.com/office/officeart/2005/8/layout/vList2"/>
    <dgm:cxn modelId="{FC8D138D-C4BC-4F07-A9D8-5792ABFE892D}" type="presOf" srcId="{C08EEE9D-A476-4C0C-9CD8-AA0DA509B2F9}" destId="{B570D5EC-5A75-47C5-9C4E-24760ACB1E05}" srcOrd="0" destOrd="0" presId="urn:microsoft.com/office/officeart/2005/8/layout/vList2"/>
    <dgm:cxn modelId="{8384E86F-F777-4E6C-A626-19016B283C89}" type="presOf" srcId="{AC866493-E1E9-4934-9492-6478DF4DBD42}" destId="{5F1C29EA-9EBE-4DE6-9E14-E987D434B9D4}" srcOrd="0" destOrd="1" presId="urn:microsoft.com/office/officeart/2005/8/layout/vList2"/>
    <dgm:cxn modelId="{2F2F8941-C07A-467F-A609-0179EF73A101}" srcId="{A42CE753-0B78-47E2-9A4D-1C0C1EA5AD50}" destId="{DDBA7BAB-3F39-46A2-94A5-49DC758F11B0}" srcOrd="0" destOrd="0" parTransId="{66876C6A-625E-412D-8B0B-213851B1713F}" sibTransId="{6E53A22D-FCD5-4EB3-AF8F-594862555EED}"/>
    <dgm:cxn modelId="{97CB02B1-E947-4329-91F2-2CAFEE4411B6}" type="presOf" srcId="{3D6BF18C-E86F-4B79-821A-8CA2DE7DF5F6}" destId="{5F1C29EA-9EBE-4DE6-9E14-E987D434B9D4}" srcOrd="0" destOrd="2" presId="urn:microsoft.com/office/officeart/2005/8/layout/vList2"/>
    <dgm:cxn modelId="{79E3AD0F-DB67-45D2-AC6D-17B2FAC4AE11}" type="presOf" srcId="{4F6FBB28-598B-4E33-9220-2B6A12D17774}" destId="{7EB1CAA1-AFC0-4C5F-B235-7DD93579CCFF}" srcOrd="0" destOrd="0" presId="urn:microsoft.com/office/officeart/2005/8/layout/vList2"/>
    <dgm:cxn modelId="{6D5D7C39-375F-4F54-9EA6-447A749DB745}" type="presParOf" srcId="{CC90E87F-1A3F-49ED-99FE-B244C03A42D1}" destId="{419BC7F1-798E-4DB6-92EF-2919ABF9E231}" srcOrd="0" destOrd="0" presId="urn:microsoft.com/office/officeart/2005/8/layout/vList2"/>
    <dgm:cxn modelId="{53EC4BA0-37A4-4B8D-A82E-9D750B826836}" type="presParOf" srcId="{CC90E87F-1A3F-49ED-99FE-B244C03A42D1}" destId="{7EB1CAA1-AFC0-4C5F-B235-7DD93579CCFF}" srcOrd="1" destOrd="0" presId="urn:microsoft.com/office/officeart/2005/8/layout/vList2"/>
    <dgm:cxn modelId="{044169C5-5991-416C-A4AE-8C66017DB73C}" type="presParOf" srcId="{CC90E87F-1A3F-49ED-99FE-B244C03A42D1}" destId="{4C8143C3-3107-44EE-BFDD-903A4B4A3E05}" srcOrd="2" destOrd="0" presId="urn:microsoft.com/office/officeart/2005/8/layout/vList2"/>
    <dgm:cxn modelId="{1DB20ABF-F283-4BA4-8622-263817CB2318}" type="presParOf" srcId="{CC90E87F-1A3F-49ED-99FE-B244C03A42D1}" destId="{9B9DF1FF-19D3-467B-85C4-1D69CEDAEFD8}" srcOrd="3" destOrd="0" presId="urn:microsoft.com/office/officeart/2005/8/layout/vList2"/>
    <dgm:cxn modelId="{4D7FFE69-9074-41F7-9BB7-6D8DDFDD2541}" type="presParOf" srcId="{CC90E87F-1A3F-49ED-99FE-B244C03A42D1}" destId="{EF15F9B7-8472-4EAB-B8B8-F99E53E145A2}" srcOrd="4" destOrd="0" presId="urn:microsoft.com/office/officeart/2005/8/layout/vList2"/>
    <dgm:cxn modelId="{C5CD5EC5-1CD3-4FD2-AAC0-1FAF9C824FAA}" type="presParOf" srcId="{CC90E87F-1A3F-49ED-99FE-B244C03A42D1}" destId="{5F1C29EA-9EBE-4DE6-9E14-E987D434B9D4}" srcOrd="5" destOrd="0" presId="urn:microsoft.com/office/officeart/2005/8/layout/vList2"/>
    <dgm:cxn modelId="{C6917D1B-F7B6-4A43-BEDE-7D78E567789E}" type="presParOf" srcId="{CC90E87F-1A3F-49ED-99FE-B244C03A42D1}" destId="{B570D5EC-5A75-47C5-9C4E-24760ACB1E05}" srcOrd="6" destOrd="0" presId="urn:microsoft.com/office/officeart/2005/8/layout/vList2"/>
    <dgm:cxn modelId="{3C113A21-233D-4E08-BB72-42EFE2293849}" type="presParOf" srcId="{CC90E87F-1A3F-49ED-99FE-B244C03A42D1}" destId="{F5F2F53C-6F7D-41C4-8657-A238D4AEEA68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target2">
  <dgm:title val=""/>
  <dgm:desc val=""/>
  <dgm:catLst>
    <dgm:cat type="relationship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chMax val="3"/>
      <dgm:chPref val="1"/>
      <dgm:dir/>
      <dgm:animLvl val="lvl"/>
      <dgm:resizeHandles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 ch" ptType="node node" st="1 1" cnt="1 0" func="cnt" op="gt" val="0">
            <dgm:choose name="Name5">
              <dgm:if name="Name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395"/>
                  <dgm:constr type="t" for="ch" forName="centerBox" refType="h" fact="0.5"/>
                  <dgm:constr type="w" for="ch" forName="centerBox" refType="w" fact="0.5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22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8">
            <dgm:choose name="Name9">
              <dgm:if name="Name1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26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if>
      <dgm:else name="Name12">
        <dgm:choose name="Name13">
          <dgm:if name="Name14" axis="ch ch" ptType="node node" st="1 1" cnt="1 0" func="cnt" op="gt" val="0">
            <dgm:choose name="Name15">
              <dgm:if name="Name1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18">
            <dgm:choose name="Name19">
              <dgm:if name="Name2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2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else>
    </dgm:choose>
    <dgm:ruleLst/>
    <dgm:choose name="Name22">
      <dgm:if name="Name23" axis="root ch" ptType="all node" st="1 1" cnt="0 0" func="cnt" op="gte" val="1">
        <dgm:layoutNode name="outerBox" styleLbl="node1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24">
            <dgm:if name="Name25" axis="root ch" ptType="all node" st="1 1" cnt="0 0" func="cnt" op="gt" val="1">
              <dgm:choose name="Name26">
                <dgm:if name="Name27" func="var" arg="dir" op="equ" val="norm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0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if>
                <dgm:else name="Name28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8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else>
              </dgm:choose>
            </dgm:if>
            <dgm:else name="Name29">
              <dgm:constrLst>
                <dgm:constr type="l" for="ch" forName="outerBoxParent"/>
                <dgm:constr type="t" for="ch" forName="outerBoxParent"/>
                <dgm:constr type="w" for="ch" forName="outerBoxParent" refType="w"/>
                <dgm:constr type="h" for="ch" forName="outerBoxParent" refType="h"/>
                <dgm:constr type="bMarg" for="ch" forName="outerBoxParent" refType="h" fact="1.75"/>
                <dgm:constr type="l" for="ch" forName="outerBoxChildren" refType="w" fact="0.025"/>
                <dgm:constr type="t" for="ch" forName="outerBoxChildren" refType="h" fact="0.45"/>
                <dgm:constr type="w" for="ch" forName="outerBoxChildren" refType="w" fact="0.95"/>
                <dgm:constr type="h" for="ch" forName="outerBoxChildren" refType="h" fact="0.45"/>
              </dgm:constrLst>
            </dgm:else>
          </dgm:choose>
          <dgm:ruleLst/>
          <dgm:layoutNode name="ou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085"/>
              </dgm:adjLst>
            </dgm:shape>
            <dgm:presOf axis="ch" ptType="node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outerBoxChildren">
            <dgm:choose name="Name30">
              <dgm:if name="Name31" axis="root ch" ptType="all node" st="1 1" cnt="0 0" func="cnt" op="gt" val="1">
                <dgm:alg type="lin">
                  <dgm:param type="linDir" val="fromT"/>
                  <dgm:param type="vertAlign" val="t"/>
                </dgm:alg>
              </dgm:if>
              <dgm:else name="Name32">
                <dgm:choose name="Name33">
                  <dgm:if name="Name34" func="var" arg="dir" op="equ" val="norm">
                    <dgm:alg type="lin">
                      <dgm:param type="horzAlign" val="l"/>
                    </dgm:alg>
                  </dgm:if>
                  <dgm:else name="Name35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oChild" refType="w"/>
              <dgm:constr type="h" for="ch" forName="oChild" refType="h"/>
            </dgm:constrLst>
            <dgm:ruleLst/>
            <dgm:forEach name="Name36" axis="ch ch" ptType="node node" st="1 1" cnt="1 0">
              <dgm:layoutNode name="o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37" axis="followSib" ptType="sibTrans" cnt="1">
                <dgm:layoutNode name="outer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38"/>
    </dgm:choose>
    <dgm:choose name="Name39">
      <dgm:if name="Name40" axis="root ch" ptType="all node" st="1 1" cnt="0 0" func="cnt" op="gte" val="2">
        <dgm:layoutNode name="middle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41">
            <dgm:if name="Name42" axis="root ch" ptType="all node" st="1 1" cnt="0 0" func="cnt" op="gt" val="2">
              <dgm:choose name="Name43">
                <dgm:if name="Name44" func="var" arg="dir" op="equ" val="norm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02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if>
                <dgm:else name="Name45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77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else>
              </dgm:choose>
            </dgm:if>
            <dgm:else name="Name46">
              <dgm:constrLst>
                <dgm:constr type="l" for="ch" forName="middleBoxParent"/>
                <dgm:constr type="t" for="ch" forName="middleBoxParent"/>
                <dgm:constr type="w" for="ch" forName="middleBoxParent" refType="w"/>
                <dgm:constr type="h" for="ch" forName="middleBoxParent" refType="h"/>
                <dgm:constr type="bMarg" for="ch" forName="middleBoxParent" refType="h" fact="1.8"/>
                <dgm:constr type="l" for="ch" forName="middleBoxChildren" refType="w" fact="0.025"/>
                <dgm:constr type="t" for="ch" forName="middleBoxChildren" refType="h" fact="0.45"/>
                <dgm:constr type="w" for="ch" forName="middleBoxChildren" refType="w" fact="0.95"/>
                <dgm:constr type="h" for="ch" forName="middleBoxChildren" refType="h" fact="0.45"/>
              </dgm:constrLst>
            </dgm:else>
          </dgm:choose>
          <dgm:ruleLst/>
          <dgm:layoutNode name="middle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2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middleBoxChildren">
            <dgm:choose name="Name47">
              <dgm:if name="Name48" axis="root ch" ptType="all node" st="1 1" cnt="0 0" func="cnt" op="gt" val="2">
                <dgm:alg type="lin">
                  <dgm:param type="linDir" val="fromT"/>
                  <dgm:param type="vertAlign" val="t"/>
                </dgm:alg>
              </dgm:if>
              <dgm:else name="Name49">
                <dgm:choose name="Name50">
                  <dgm:if name="Name51" func="var" arg="dir" op="equ" val="norm">
                    <dgm:alg type="lin">
                      <dgm:param type="horzAlign" val="l"/>
                    </dgm:alg>
                  </dgm:if>
                  <dgm:else name="Name52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mChild" refType="w"/>
              <dgm:constr type="h" for="ch" forName="mChild" refType="h"/>
            </dgm:constrLst>
            <dgm:ruleLst/>
            <dgm:forEach name="Name53" axis="ch ch" ptType="node node" st="2 1" cnt="1 0">
              <dgm:layoutNode name="m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54" axis="followSib" ptType="sibTrans" cnt="1">
                <dgm:layoutNode name="middle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55"/>
    </dgm:choose>
    <dgm:choose name="Name56">
      <dgm:if name="Name57" axis="root ch" ptType="all node" st="1 1" cnt="0 0" func="cnt" op="gte" val="3">
        <dgm:layoutNode name="center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58">
            <dgm:if name="Name59" axis="ch ch" ptType="node node" st="3 1" cnt="1 0" func="cnt" op="gt" val="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  <dgm:constr type="bMarg" for="ch" forName="centerBoxParent" refType="h" fact="1.6"/>
                <dgm:constr type="l" for="ch" forName="centerBoxChildren" refType="w" fact="0.025"/>
                <dgm:constr type="t" for="ch" forName="centerBoxChildren" refType="h" fact="0.45"/>
                <dgm:constr type="w" for="ch" forName="centerBoxChildren" refType="w" fact="0.95"/>
                <dgm:constr type="h" for="ch" forName="centerBoxChildren" refType="h" fact="0.45"/>
              </dgm:constrLst>
            </dgm:if>
            <dgm:else name="Name6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</dgm:constrLst>
            </dgm:else>
          </dgm:choose>
          <dgm:ruleLst/>
          <dgm:layoutNode name="cen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3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choose name="Name61">
            <dgm:if name="Name62" axis="ch ch" ptType="node node" st="3 1" cnt="1 0" func="cnt" op="gt" val="0">
              <dgm:layoutNode name="centerBoxChildren">
                <dgm:choose name="Name63">
                  <dgm:if name="Name64" func="var" arg="dir" op="equ" val="norm">
                    <dgm:alg type="lin">
                      <dgm:param type="horzAlign" val="l"/>
                    </dgm:alg>
                  </dgm:if>
                  <dgm:else name="Name65">
                    <dgm:alg type="lin">
                      <dgm:param type="linDir" val="fromR"/>
                      <dgm:param type="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cChild" refType="w"/>
                  <dgm:constr type="h" for="ch" forName="cChild" refType="h"/>
                </dgm:constrLst>
                <dgm:ruleLst/>
                <dgm:forEach name="Name66" axis="ch ch" ptType="node node" st="3 1" cnt="1 0">
                  <dgm:layoutNode name="cChild" styleLbl="fgAcc1">
                    <dgm:varLst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05"/>
                      </dgm:adjLst>
                    </dgm:shape>
                    <dgm:presOf axis="desOrSelf" ptType="node"/>
                    <dgm:constrLst>
                      <dgm:constr type="tMarg" refType="primFontSz" fact="0.3"/>
                      <dgm:constr type="bMarg" refType="primFontSz" fact="0.3"/>
                      <dgm:constr type="lMarg" refType="primFontSz" fact="0.3"/>
                      <dgm:constr type="rMarg" refType="primFontSz" fact="0.3"/>
                    </dgm:constrLst>
                    <dgm:ruleLst>
                      <dgm:rule type="primFontSz" val="5" fact="NaN" max="NaN"/>
                    </dgm:ruleLst>
                  </dgm:layoutNode>
                  <dgm:forEach name="Name67" axis="followSib" ptType="sibTrans" cnt="1">
                    <dgm:layoutNode name="centerSibTrans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userA"/>
                        <dgm:constr type="w" refType="userA" fact="0.015"/>
                        <dgm:constr type="h" refType="userA" fact="0.015"/>
                      </dgm:constrLst>
                      <dgm:ruleLst/>
                    </dgm:layoutNode>
                  </dgm:forEach>
                </dgm:forEach>
              </dgm:layoutNode>
            </dgm:if>
            <dgm:else name="Name68"/>
          </dgm:choose>
        </dgm:layoutNode>
      </dgm:if>
      <dgm:else name="Name69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64B86A35-AAF4-4685-AA3B-653B8E2C4A95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029E65A9-95ED-4729-A3E1-53959BB4EE7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1140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E65A9-95ED-4729-A3E1-53959BB4EE7C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29831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A EB5G apresenta uma visão sobre as oportunidades oferecidas pela tecnologia 5G no Brasil, bem como um diagnóstico dos desafios a serem enfrentados. Assim, identificam-se ações que, se realizadas, permitirão ao país entrar na quinta geração de serviços móveis em linha com as melhores práticas mundiais, de forma a aproveitar todas as oportunidades de crescimento econômico e melhoria da qualidade de vida da população. Cada eixo contém uma visão, visão e oportunidades que o Brasil tem para alcançá-los.</a:t>
            </a:r>
            <a:endParaRPr lang="pt-BR" b="1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E65A9-95ED-4729-A3E1-53959BB4EE7C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00059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08" tIns="42204" rIns="84408" bIns="42204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014E80-E965-4C1B-AC50-7C89A9D9BDB8}" type="slidenum">
              <a:rPr kumimoji="0" lang="en-US" alt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63538" y="673100"/>
            <a:ext cx="6127750" cy="34480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4988"/>
            <a:ext cx="5027613" cy="41259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7542" tIns="43771" rIns="87542" bIns="43771" numCol="1" anchor="ctr" anchorCtr="0" compatLnSpc="1">
            <a:prstTxWarp prst="textNoShape">
              <a:avLst/>
            </a:prstTxWarp>
          </a:bodyPr>
          <a:lstStyle/>
          <a:p>
            <a:endParaRPr lang="en-US" altLang="pt-BR" smtClean="0"/>
          </a:p>
        </p:txBody>
      </p:sp>
    </p:spTree>
    <p:extLst>
      <p:ext uri="{BB962C8B-B14F-4D97-AF65-F5344CB8AC3E}">
        <p14:creationId xmlns:p14="http://schemas.microsoft.com/office/powerpoint/2010/main" val="2638929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08" tIns="42204" rIns="84408" bIns="42204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014E80-E965-4C1B-AC50-7C89A9D9BDB8}" type="slidenum">
              <a:rPr kumimoji="0" lang="en-US" alt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63538" y="673100"/>
            <a:ext cx="6127750" cy="34480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4988"/>
            <a:ext cx="5027613" cy="41259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7542" tIns="43771" rIns="87542" bIns="43771" numCol="1" anchor="ctr" anchorCtr="0" compatLnSpc="1">
            <a:prstTxWarp prst="textNoShape">
              <a:avLst/>
            </a:prstTxWarp>
          </a:bodyPr>
          <a:lstStyle/>
          <a:p>
            <a:endParaRPr lang="en-US" altLang="pt-BR" smtClean="0"/>
          </a:p>
        </p:txBody>
      </p:sp>
    </p:spTree>
    <p:extLst>
      <p:ext uri="{BB962C8B-B14F-4D97-AF65-F5344CB8AC3E}">
        <p14:creationId xmlns:p14="http://schemas.microsoft.com/office/powerpoint/2010/main" val="3382311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9E65A9-95ED-4729-A3E1-53959BB4EE7C}" type="slidenum">
              <a:rPr kumimoji="0" lang="pt-BR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pt-B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41235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E65A9-95ED-4729-A3E1-53959BB4EE7C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60006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5" cy="12311063"/>
          </a:xfrm>
        </p:spPr>
        <p:txBody>
          <a:bodyPr/>
          <a:lstStyle/>
          <a:p>
            <a:r>
              <a:rPr lang="pt-BR" b="1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1:30 – 12:30 –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pt-BR" b="1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ainel 5: “Os caminhos para a Internet das Coisas”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/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 futuro aponta para uma sociedade em que pessoas e coisas estarão plenamente conectadas por meio de banda larga, seja por fibra, redes de alta velocidade ou conexões wireless em 4G e 5G. Mas tudo isso depende essencialmente do desenvolvimento e ampliação das redes de telecomunicações, investimentos em novas soluções e, sobretudo, de políticas públicas voltadas para o Brasil Digital. Nesta sessão, estarão em pauta:</a:t>
            </a:r>
          </a:p>
          <a:p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– As transformações com IoT</a:t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– Desoneração tributária: necessidade e imperativo</a:t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– A preparação regulatória para um novo cenário</a:t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– Os avanços já feitos</a:t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– O papel da 5G para o Brasil conectado</a:t>
            </a:r>
          </a:p>
          <a:p>
            <a:r>
              <a:rPr lang="pt-BR" b="1" i="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ynotes</a:t>
            </a:r>
            <a:r>
              <a:rPr lang="pt-BR" b="1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: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/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tefano </a:t>
            </a:r>
            <a:r>
              <a:rPr lang="pt-BR" b="0" i="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Nicoleti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</a:t>
            </a:r>
            <a:r>
              <a:rPr lang="pt-BR" b="0" i="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olicy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pt-BR" b="0" i="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rector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GSMA)</a:t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hiago Camargo (Secretário de Políticas Digitais)</a:t>
            </a:r>
          </a:p>
          <a:p>
            <a:r>
              <a:rPr lang="pt-BR" b="1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batedores: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/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níbal Diniz (Conselheiro da Anatel)</a:t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icardo Rivera (Head de ICT do BNDES)</a:t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scar </a:t>
            </a:r>
            <a:r>
              <a:rPr lang="pt-BR" b="0" i="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tersen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Diretor Executivo de Assuntos Regulatórios da Claro Brasil)</a:t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auro Fukuda (Diretor de estratégia, tecnologia e </a:t>
            </a:r>
            <a:r>
              <a:rPr lang="pt-BR" b="0" i="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rquitetuta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e rede da Oi)</a:t>
            </a:r>
          </a:p>
          <a:p>
            <a:r>
              <a:rPr lang="pt-BR" b="1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oderador: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/>
            </a:r>
            <a:b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rancisco </a:t>
            </a:r>
            <a:r>
              <a:rPr lang="pt-BR" b="0" i="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iacomini</a:t>
            </a:r>
            <a:r>
              <a:rPr lang="pt-BR" b="0" i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Soares (diretor da Abinee)</a:t>
            </a:r>
          </a:p>
          <a:p>
            <a:pPr defTabSz="954858">
              <a:defRPr/>
            </a:pPr>
            <a:endParaRPr lang="pt-BR" i="1" dirty="0" smtClean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defTabSz="954858">
              <a:defRPr/>
            </a:pPr>
            <a:endParaRPr lang="pt-BR" i="1" dirty="0" smtClean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defTabSz="954858">
              <a:defRPr/>
            </a:pPr>
            <a:r>
              <a:rPr lang="pt-BR" i="1" dirty="0" smtClean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“Internet das Coisas é a </a:t>
            </a:r>
            <a:r>
              <a:rPr lang="pt-BR" b="1" i="1" dirty="0" smtClean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fraestrutura</a:t>
            </a:r>
            <a:r>
              <a:rPr lang="pt-BR" i="1" dirty="0" smtClean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global que possibilita a prestação de serviços de valor adicionado pela conexão (física ou virtual) de “coisas” com “dispositivos” baseados nas tecnologias da informação e comunicação existentes e nas suas evoluções com interoperabilidade.”</a:t>
            </a:r>
            <a:endParaRPr lang="pt-BR" i="1" dirty="0" smtClean="0">
              <a:solidFill>
                <a:schemeClr val="bg1"/>
              </a:solidFill>
            </a:endParaRPr>
          </a:p>
          <a:p>
            <a:endParaRPr lang="pt-BR" dirty="0" smtClean="0"/>
          </a:p>
          <a:p>
            <a:endParaRPr lang="pt-BR" dirty="0" smtClean="0"/>
          </a:p>
          <a:p>
            <a:r>
              <a:rPr lang="pt-BR" dirty="0" smtClean="0"/>
              <a:t>Trabalho que foi construído com amplo dialogo com o setor, por meio da câmara de IoT (criada por decreto presidencial em 2014), que contem mais de 70 entidades, que representam mais de 2500 empresas, centros de pesquisa e universidades.</a:t>
            </a:r>
          </a:p>
          <a:p>
            <a:endParaRPr lang="pt-BR" dirty="0" smtClean="0"/>
          </a:p>
          <a:p>
            <a:r>
              <a:rPr lang="pt-BR" dirty="0" smtClean="0"/>
              <a:t>As diversas consultas publicas realizadas geraram um imenso volume de informação que foram consolidados nos documentos do estudo de </a:t>
            </a:r>
            <a:r>
              <a:rPr lang="pt-BR" dirty="0" err="1" smtClean="0"/>
              <a:t>iot</a:t>
            </a:r>
            <a:r>
              <a:rPr lang="pt-BR" dirty="0" smtClean="0"/>
              <a:t> em parceria com o </a:t>
            </a:r>
            <a:r>
              <a:rPr lang="pt-BR" dirty="0" err="1" smtClean="0"/>
              <a:t>bndes</a:t>
            </a:r>
            <a:r>
              <a:rPr lang="pt-BR" dirty="0" smtClean="0"/>
              <a:t>.</a:t>
            </a:r>
          </a:p>
          <a:p>
            <a:endParaRPr lang="pt-BR" dirty="0" smtClean="0"/>
          </a:p>
          <a:p>
            <a:r>
              <a:rPr lang="pt-BR" dirty="0" smtClean="0"/>
              <a:t>O estudo pode ser encontrado no hot site de internet das coisas na pagina da internet do </a:t>
            </a:r>
            <a:r>
              <a:rPr lang="pt-BR" dirty="0" err="1" smtClean="0"/>
              <a:t>mctic</a:t>
            </a:r>
            <a:r>
              <a:rPr lang="pt-BR" dirty="0" smtClean="0"/>
              <a:t>:</a:t>
            </a:r>
          </a:p>
          <a:p>
            <a:endParaRPr lang="pt-BR" dirty="0" smtClean="0"/>
          </a:p>
          <a:p>
            <a:r>
              <a:rPr lang="pt-BR" dirty="0" smtClean="0"/>
              <a:t>http://www.mctic.gov.br/mctic/opencms/tecnologia/SEPOD/politicasDigitais/internet_coisas/_iot/Estudo_IoT.html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BBE0E2-DFBA-45A3-9034-F26524432745}" type="slidenum">
              <a:rPr lang="pt-BR" smtClean="0">
                <a:solidFill>
                  <a:prstClr val="black"/>
                </a:solidFill>
              </a:rPr>
              <a:pPr/>
              <a:t>2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397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1600"/>
              </a:spcAft>
              <a:buFont typeface="Arial" charset="0"/>
              <a:buChar char="•"/>
            </a:pPr>
            <a:r>
              <a:rPr lang="pt-BR" altLang="pt-BR" sz="2667" dirty="0" smtClean="0">
                <a:solidFill>
                  <a:srgbClr val="3370B1"/>
                </a:solidFill>
              </a:rPr>
              <a:t>A IHS </a:t>
            </a:r>
            <a:r>
              <a:rPr lang="pt-BR" altLang="pt-BR" sz="2667" dirty="0" err="1" smtClean="0">
                <a:solidFill>
                  <a:srgbClr val="3370B1"/>
                </a:solidFill>
              </a:rPr>
              <a:t>Markit</a:t>
            </a:r>
            <a:r>
              <a:rPr lang="pt-BR" altLang="pt-BR" sz="2667" dirty="0" smtClean="0">
                <a:solidFill>
                  <a:srgbClr val="3370B1"/>
                </a:solidFill>
              </a:rPr>
              <a:t> publicou o estudo</a:t>
            </a:r>
            <a:r>
              <a:rPr lang="pt-BR" altLang="pt-BR" sz="2667" baseline="0" dirty="0" smtClean="0">
                <a:solidFill>
                  <a:srgbClr val="3370B1"/>
                </a:solidFill>
              </a:rPr>
              <a:t> </a:t>
            </a:r>
            <a:r>
              <a:rPr lang="pt-BR" altLang="pt-BR" sz="2667" b="1" dirty="0" err="1" smtClean="0">
                <a:solidFill>
                  <a:srgbClr val="3370B1"/>
                </a:solidFill>
              </a:rPr>
              <a:t>Economics</a:t>
            </a:r>
            <a:r>
              <a:rPr lang="pt-BR" altLang="pt-BR" sz="2667" b="1" dirty="0" smtClean="0">
                <a:solidFill>
                  <a:srgbClr val="3370B1"/>
                </a:solidFill>
              </a:rPr>
              <a:t> &amp; IHS Technology  </a:t>
            </a:r>
            <a:r>
              <a:rPr lang="pt-BR" altLang="pt-BR" sz="2667" b="0" dirty="0" smtClean="0">
                <a:solidFill>
                  <a:srgbClr val="3370B1"/>
                </a:solidFill>
              </a:rPr>
              <a:t>contendo</a:t>
            </a:r>
            <a:r>
              <a:rPr lang="pt-BR" altLang="pt-BR" sz="2667" b="0" baseline="0" dirty="0" smtClean="0">
                <a:solidFill>
                  <a:srgbClr val="3370B1"/>
                </a:solidFill>
              </a:rPr>
              <a:t> a </a:t>
            </a:r>
            <a:r>
              <a:rPr lang="pt-BR" altLang="pt-BR" sz="2667" dirty="0" smtClean="0">
                <a:solidFill>
                  <a:srgbClr val="3370B1"/>
                </a:solidFill>
              </a:rPr>
              <a:t>estimativas de impacto financeiro sobre o 5G para o período de 2020 a 2035:</a:t>
            </a:r>
          </a:p>
          <a:p>
            <a:pPr lvl="1">
              <a:spcAft>
                <a:spcPts val="1600"/>
              </a:spcAft>
              <a:buFont typeface="Wingdings" charset="2"/>
              <a:buChar char="ü"/>
            </a:pPr>
            <a:r>
              <a:rPr lang="pt-BR" altLang="pt-BR" sz="2667" dirty="0" smtClean="0">
                <a:solidFill>
                  <a:srgbClr val="3370B1"/>
                </a:solidFill>
              </a:rPr>
              <a:t>5G irá gerar receitas de até US$ 3.5 trilhões e produzir bens e serviços de até US$ 12,3 trilhões.</a:t>
            </a:r>
          </a:p>
          <a:p>
            <a:pPr lvl="1">
              <a:spcAft>
                <a:spcPts val="1600"/>
              </a:spcAft>
              <a:buFont typeface="Wingdings" charset="2"/>
              <a:buChar char="ü"/>
            </a:pPr>
            <a:r>
              <a:rPr lang="pt-BR" altLang="pt-BR" sz="2667" dirty="0" smtClean="0">
                <a:solidFill>
                  <a:srgbClr val="3370B1"/>
                </a:solidFill>
              </a:rPr>
              <a:t>A cadeia de valor do 5G deve investir US$ 200 bilhões/ano.</a:t>
            </a:r>
          </a:p>
          <a:p>
            <a:pPr lvl="1">
              <a:spcAft>
                <a:spcPts val="1600"/>
              </a:spcAft>
              <a:buFont typeface="Wingdings" charset="2"/>
              <a:buChar char="ü"/>
            </a:pPr>
            <a:r>
              <a:rPr lang="pt-BR" altLang="pt-BR" sz="2667" dirty="0" smtClean="0">
                <a:solidFill>
                  <a:srgbClr val="3370B1"/>
                </a:solidFill>
              </a:rPr>
              <a:t>22 milhões de emprego para desenvolvimento e implementação da tecnologia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E65A9-95ED-4729-A3E1-53959BB4EE7C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4968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 TMC Telecom publicou</a:t>
            </a:r>
            <a:r>
              <a:rPr lang="pt-BR" baseline="0" dirty="0" smtClean="0"/>
              <a:t> o relatório “Os </a:t>
            </a:r>
            <a:r>
              <a:rPr lang="pt-PT" dirty="0" smtClean="0"/>
              <a:t>Benefícios socioeconômicos dos serviços 5G fornecidos em bandas mmWave”.</a:t>
            </a:r>
            <a:r>
              <a:rPr lang="pt-PT" baseline="0" dirty="0" smtClean="0"/>
              <a:t> O interessante </a:t>
            </a:r>
            <a:r>
              <a:rPr lang="pt-PT" dirty="0" smtClean="0"/>
              <a:t>é que se trata do primeiro relatório a examinar e quantificar o impacto do espectro mmWave na contribuição geral das redes 5G para a sociedade. Esta</a:t>
            </a:r>
            <a:r>
              <a:rPr lang="pt-PT" baseline="0" dirty="0" smtClean="0"/>
              <a:t> figura representa um recorte da perspectiva econômica nas americas, e um recorte especial para a américa latina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E65A9-95ED-4729-A3E1-53959BB4EE7C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14518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Os</a:t>
            </a:r>
            <a:r>
              <a:rPr lang="pt-BR" baseline="0" dirty="0" smtClean="0"/>
              <a:t> dados publicados no relatório da Nokia e pela empresa de Consultoria OMDIA, relava uma grande oportunidade de crescimento econômico nos diversos setores não só para o Brasil.</a:t>
            </a:r>
            <a:br>
              <a:rPr lang="pt-BR" baseline="0" dirty="0" smtClean="0"/>
            </a:br>
            <a:r>
              <a:rPr lang="pt-B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 estudo da OMDIA indica que seis verticais serão as mais beneficiadas pela implementação do 5G no Brasil com aumentos de faturamento em 15 anos.</a:t>
            </a:r>
            <a:endParaRPr lang="pt-BR" baseline="0" dirty="0" smtClean="0"/>
          </a:p>
          <a:p>
            <a:r>
              <a:rPr lang="pt-BR" baseline="0" dirty="0" smtClean="0"/>
              <a:t>Dito isso, há um aspecto relevante a ser considerado, todo esse retorno econômico esperado requer investimento, e por trás dos investimentos há desafios a serem superados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E65A9-95ED-4729-A3E1-53959BB4EE7C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838192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2000" dirty="0" smtClean="0"/>
              <a:t>Os requisitos de largura de banda aumentarão drasticamente nos próximos 10 anos. Esses requisitos de largura de banda só podem ser atendidos por investimentos importantes em novas técnicas</a:t>
            </a:r>
            <a:r>
              <a:rPr lang="pt-PT" sz="2000" baseline="0" dirty="0" smtClean="0"/>
              <a:t> e</a:t>
            </a:r>
            <a:r>
              <a:rPr lang="pt-PT" sz="2000" dirty="0" smtClean="0"/>
              <a:t> tecnologias (tais</a:t>
            </a:r>
            <a:r>
              <a:rPr lang="pt-PT" sz="2000" baseline="0" dirty="0" smtClean="0"/>
              <a:t> como Network Slicing, virtualização, Edge Computing, Redes definidas por Software, dentre outros)</a:t>
            </a:r>
            <a:r>
              <a:rPr lang="pt-PT" sz="2000" dirty="0" smtClean="0"/>
              <a:t>. </a:t>
            </a:r>
            <a:br>
              <a:rPr lang="pt-PT" sz="2000" dirty="0" smtClean="0"/>
            </a:br>
            <a:r>
              <a:rPr lang="pt-PT" sz="2000" dirty="0" smtClean="0"/>
              <a:t>Para viabilizar as tecnologias do futuro, um importante objetivo da regulação é incentivar os investimentos dos operadores em novas infraestruturas. Estudos Técnicos, Econômicos e Sociais são essenciais. O espectro deve ser alocado (e realocado) para os serviços que trazem maiores benefícios socioeconômicos.</a:t>
            </a:r>
            <a:r>
              <a:rPr lang="pt-PT" sz="2000" baseline="0" dirty="0" smtClean="0"/>
              <a:t> Além disso, em muitos relatos vemos que o espetro é e será um bem escasso, e</a:t>
            </a:r>
            <a:r>
              <a:rPr lang="pt-PT" sz="2000" dirty="0" smtClean="0"/>
              <a:t> alimentar essa demanda crescente é um desafio constante.</a:t>
            </a:r>
            <a:endParaRPr lang="en-US" sz="2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5CD610-6253-456C-8D4C-46D598A64F42}" type="slidenum">
              <a:rPr lang="pt-BR" smtClean="0"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995144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Evolução tecnológica do SMP 2015 </a:t>
            </a:r>
            <a:r>
              <a:rPr lang="pt-BR" dirty="0" smtClean="0"/>
              <a:t>– 2020</a:t>
            </a:r>
          </a:p>
          <a:p>
            <a:r>
              <a:rPr lang="pt-BR" dirty="0" smtClean="0"/>
              <a:t>A evolução de 5 anos para cá nos mostra que</a:t>
            </a:r>
            <a:r>
              <a:rPr lang="pt-BR" baseline="0" dirty="0" smtClean="0"/>
              <a:t> para ocorrer a expansão do 4G no país foram necessários um alto investimento. E com isso uma das indagações que podemos fazer é: diante de todo investimento feito em um curso espaço de tempo, será que teremos espaço para altos investimentos para as redes 5G?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9E65A9-95ED-4729-A3E1-53959BB4EE7C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5805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lém do aspecto econômico relacionado</a:t>
            </a:r>
            <a:r>
              <a:rPr lang="pt-BR" baseline="0" dirty="0" smtClean="0"/>
              <a:t> ao agronegócio, há outro fator que motivou as ações do Brasil para tentar estabelecer um 4º cenário/requisito para o 5G. Que é o aspecto da inclusão e diminuição da desigualdade social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E65A9-95ED-4729-A3E1-53959BB4EE7C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148101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9E65A9-95ED-4729-A3E1-53959BB4EE7C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090703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59613" y="4341280"/>
            <a:ext cx="5792745" cy="5292614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98487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microsoft.com/office/2007/relationships/hdphoto" Target="../media/hdphoto1.wdp"/><Relationship Id="rId2" Type="http://schemas.openxmlformats.org/officeDocument/2006/relationships/tags" Target="../tags/tag4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9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08555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7311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78275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4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42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" y="1"/>
            <a:ext cx="9143838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504" y="176148"/>
            <a:ext cx="8794113" cy="282626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39" y="4981298"/>
            <a:ext cx="123432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defTabSz="683546"/>
            <a:fld id="{42C328C1-A84F-4A39-A664-DBA00541A8C6}" type="slidenum">
              <a:rPr lang="pt-BR" sz="600" smtClean="0">
                <a:solidFill>
                  <a:srgbClr val="FFFFFF"/>
                </a:solidFill>
              </a:rPr>
              <a:pPr defTabSz="683546"/>
              <a:t>‹nº›</a:t>
            </a:fld>
            <a:endParaRPr lang="pt-BR" sz="600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22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2894"/>
            <a:endParaRPr lang="pt-BR" sz="6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44507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43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43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20" y="4903688"/>
            <a:ext cx="9144000" cy="256478"/>
            <a:chOff x="1833416" y="3320291"/>
            <a:chExt cx="10260013" cy="954054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3474"/>
              <a:endParaRPr lang="pt-BR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3474"/>
              <a:endParaRPr lang="pt-BR" sz="12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504" y="176148"/>
            <a:ext cx="8794113" cy="28262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39" y="5000324"/>
            <a:ext cx="123432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defTabSz="683474"/>
            <a:fld id="{42C328C1-A84F-4A39-A664-DBA00541A8C6}" type="slidenum">
              <a:rPr lang="pt-BR" sz="600" smtClean="0">
                <a:solidFill>
                  <a:srgbClr val="FFFFFF"/>
                </a:solidFill>
              </a:rPr>
              <a:pPr defTabSz="683474"/>
              <a:t>‹nº›</a:t>
            </a:fld>
            <a:endParaRPr lang="pt-BR" sz="600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22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2821"/>
            <a:endParaRPr lang="pt-BR" sz="6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21380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Impac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78070" y="248968"/>
            <a:ext cx="3879606" cy="934871"/>
          </a:xfrm>
        </p:spPr>
        <p:txBody>
          <a:bodyPr wrap="square"/>
          <a:lstStyle>
            <a:lvl1pPr>
              <a:lnSpc>
                <a:spcPct val="90000"/>
              </a:lnSpc>
              <a:defRPr sz="3375" b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lnSpc>
                <a:spcPct val="90000"/>
              </a:lnSpc>
              <a:defRPr sz="105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037" y="4879037"/>
            <a:ext cx="722655" cy="89042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>
          <a:xfrm>
            <a:off x="8668036" y="4869496"/>
            <a:ext cx="93776" cy="9233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lvl="0" algn="r">
              <a:defRPr sz="8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defTabSz="685797"/>
            <a:fld id="{42C328C1-A84F-4A39-A664-DBA00541A8C6}" type="slidenum">
              <a:rPr lang="en-US" sz="600" smtClean="0">
                <a:solidFill>
                  <a:srgbClr val="1F40E6">
                    <a:lumMod val="40000"/>
                    <a:lumOff val="60000"/>
                  </a:srgbClr>
                </a:solidFill>
              </a:rPr>
              <a:pPr defTabSz="685797"/>
              <a:t>‹nº›</a:t>
            </a:fld>
            <a:endParaRPr lang="en-US" sz="600" dirty="0">
              <a:solidFill>
                <a:srgbClr val="1F40E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53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3159" y="514350"/>
            <a:ext cx="6000750" cy="2228851"/>
          </a:xfrm>
        </p:spPr>
        <p:txBody>
          <a:bodyPr anchor="b">
            <a:normAutofit/>
          </a:bodyPr>
          <a:lstStyle>
            <a:lvl1pPr algn="l">
              <a:defRPr sz="3600">
                <a:effectLst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3159" y="2882900"/>
            <a:ext cx="4800600" cy="1460500"/>
          </a:xfrm>
        </p:spPr>
        <p:txBody>
          <a:bodyPr anchor="t">
            <a:normAutofit/>
          </a:bodyPr>
          <a:lstStyle>
            <a:lvl1pPr marL="0" indent="0" algn="l">
              <a:buNone/>
              <a:defRPr sz="1575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6171009" y="6350"/>
            <a:ext cx="2857500" cy="28575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4581128" y="68659"/>
            <a:ext cx="4560491" cy="45604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5426869" y="171450"/>
            <a:ext cx="3714750" cy="371475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5501878" y="24209"/>
            <a:ext cx="3639742" cy="3639742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5884070" y="457201"/>
            <a:ext cx="3257549" cy="325754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48231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pt-BR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00000000-1234-1234-1234-123412341234}" type="slidenum">
              <a:rPr lang="pt-BR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pt-BR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732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159" y="1504950"/>
            <a:ext cx="6400801" cy="1711200"/>
          </a:xfrm>
        </p:spPr>
        <p:txBody>
          <a:bodyPr anchor="b">
            <a:normAutofit/>
          </a:bodyPr>
          <a:lstStyle>
            <a:lvl1pPr algn="l">
              <a:defRPr sz="2700" b="0" cap="all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3160" y="3371850"/>
            <a:ext cx="6400800" cy="1123950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788144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3159" y="514351"/>
            <a:ext cx="3703241" cy="2711450"/>
          </a:xfrm>
        </p:spPr>
        <p:txBody>
          <a:bodyPr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6100" y="514351"/>
            <a:ext cx="3700859" cy="2711450"/>
          </a:xfrm>
        </p:spPr>
        <p:txBody>
          <a:bodyPr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466120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061" y="514350"/>
            <a:ext cx="3487340" cy="432197"/>
          </a:xfrm>
        </p:spPr>
        <p:txBody>
          <a:bodyPr anchor="b">
            <a:noAutofit/>
          </a:bodyPr>
          <a:lstStyle>
            <a:lvl1pPr marL="0" indent="0">
              <a:buNone/>
              <a:defRPr sz="21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3159" y="952897"/>
            <a:ext cx="3703241" cy="2272904"/>
          </a:xfrm>
        </p:spPr>
        <p:txBody>
          <a:bodyPr anchor="t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9299" y="514350"/>
            <a:ext cx="3498851" cy="432197"/>
          </a:xfrm>
        </p:spPr>
        <p:txBody>
          <a:bodyPr anchor="b">
            <a:noAutofit/>
          </a:bodyPr>
          <a:lstStyle>
            <a:lvl1pPr marL="0" indent="0">
              <a:buNone/>
              <a:defRPr sz="21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54909" y="946546"/>
            <a:ext cx="3696891" cy="2272904"/>
          </a:xfrm>
        </p:spPr>
        <p:txBody>
          <a:bodyPr anchor="t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88161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23590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295101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826202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13759" y="514350"/>
            <a:ext cx="2743200" cy="1028700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3159" y="514350"/>
            <a:ext cx="4457701" cy="3981450"/>
          </a:xfrm>
        </p:spPr>
        <p:txBody>
          <a:bodyPr anchor="ctr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13759" y="1657350"/>
            <a:ext cx="2743200" cy="1568450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978124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42109" y="1085850"/>
            <a:ext cx="4514850" cy="857250"/>
          </a:xfrm>
        </p:spPr>
        <p:txBody>
          <a:bodyPr anchor="b">
            <a:normAutofit/>
          </a:bodyPr>
          <a:lstStyle>
            <a:lvl1pPr algn="l">
              <a:defRPr sz="21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1759" y="685800"/>
            <a:ext cx="2460731" cy="3429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542109" y="2082800"/>
            <a:ext cx="4516041" cy="1536700"/>
          </a:xfrm>
        </p:spPr>
        <p:txBody>
          <a:bodyPr anchor="t">
            <a:normAutofit/>
          </a:bodyPr>
          <a:lstStyle>
            <a:lvl1pPr marL="0" indent="0">
              <a:buNone/>
              <a:defRPr sz="13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72436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Panorâmica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514350" y="400050"/>
            <a:ext cx="8114109" cy="234315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2882900"/>
            <a:ext cx="6228158" cy="3429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20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249368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160" y="514350"/>
            <a:ext cx="7543800" cy="2057400"/>
          </a:xfrm>
        </p:spPr>
        <p:txBody>
          <a:bodyPr anchor="ctr">
            <a:normAutofit/>
          </a:bodyPr>
          <a:lstStyle>
            <a:lvl1pPr algn="l">
              <a:defRPr sz="2400" b="0" cap="all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3159" y="3086100"/>
            <a:ext cx="6401991" cy="1409700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26603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çã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059" y="514350"/>
            <a:ext cx="6858001" cy="2057400"/>
          </a:xfrm>
        </p:spPr>
        <p:txBody>
          <a:bodyPr anchor="ctr">
            <a:normAutofit/>
          </a:bodyPr>
          <a:lstStyle>
            <a:lvl1pPr algn="l">
              <a:defRPr sz="2400" b="0" cap="all"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84659" y="2571750"/>
            <a:ext cx="6400800" cy="28575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3160" y="3225801"/>
            <a:ext cx="6400800" cy="1263649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8859" y="609167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714059" y="2076451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marL="0" marR="0" lvl="0" indent="0" algn="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606356231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159" y="2571750"/>
            <a:ext cx="6400800" cy="1273050"/>
          </a:xfrm>
        </p:spPr>
        <p:txBody>
          <a:bodyPr anchor="b">
            <a:normAutofit/>
          </a:bodyPr>
          <a:lstStyle>
            <a:lvl1pPr algn="l">
              <a:defRPr sz="2400" b="0" cap="all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3158" y="3849736"/>
            <a:ext cx="6401993" cy="645300"/>
          </a:xfrm>
        </p:spPr>
        <p:txBody>
          <a:bodyPr anchor="t">
            <a:normAutofit/>
          </a:bodyPr>
          <a:lstStyle>
            <a:lvl1pPr marL="0" indent="0" algn="l">
              <a:buNone/>
              <a:defRPr sz="150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26164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o 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060" y="514350"/>
            <a:ext cx="6858000" cy="2057400"/>
          </a:xfrm>
        </p:spPr>
        <p:txBody>
          <a:bodyPr anchor="ctr">
            <a:normAutofit/>
          </a:bodyPr>
          <a:lstStyle>
            <a:lvl1pPr algn="l">
              <a:defRPr sz="2400" b="0" cap="all"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13159" y="2946400"/>
            <a:ext cx="6400801" cy="7874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pt-BR"/>
              <a:t>Editar estilos de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3159" y="3733800"/>
            <a:ext cx="6400801" cy="762000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859" y="609167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714059" y="2076451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marL="0" marR="0" lvl="0" indent="0" algn="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046282954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iro ou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160" y="514350"/>
            <a:ext cx="7543800" cy="20574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13159" y="2946401"/>
            <a:ext cx="6400800" cy="62865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pt-BR"/>
              <a:t>Editar estilos de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3159" y="3575049"/>
            <a:ext cx="6400801" cy="920750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62626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79784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8764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3909" y="514350"/>
            <a:ext cx="1543050" cy="34290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514350"/>
            <a:ext cx="5867400" cy="3981450"/>
          </a:xfrm>
        </p:spPr>
        <p:txBody>
          <a:bodyPr vert="eaVert" anchor="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/>
            <a:fld id="{B61BEF0D-F0BB-DE4B-95CE-6DB70DBA9567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/>
            <a:fld id="{D57F1E4F-1CFF-5643-939E-217C01CDF56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0933803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2" y="4903663"/>
            <a:ext cx="9144000" cy="256478"/>
            <a:chOff x="1833416" y="3320291"/>
            <a:chExt cx="10260013" cy="954054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</p:grp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490" y="176148"/>
            <a:ext cx="8794113" cy="282626"/>
          </a:xfrm>
        </p:spPr>
        <p:txBody>
          <a:bodyPr/>
          <a:lstStyle>
            <a:lvl1pPr>
              <a:defRPr sz="1837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4999383"/>
            <a:ext cx="115416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pt-BR" sz="61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reeform 11"/>
          <p:cNvSpPr>
            <a:spLocks noEditPoints="1"/>
          </p:cNvSpPr>
          <p:nvPr userDrawn="1"/>
        </p:nvSpPr>
        <p:spPr bwMode="auto">
          <a:xfrm>
            <a:off x="143957" y="471730"/>
            <a:ext cx="4025232" cy="4314515"/>
          </a:xfrm>
          <a:custGeom>
            <a:avLst/>
            <a:gdLst>
              <a:gd name="T0" fmla="*/ 2288 w 11758"/>
              <a:gd name="T1" fmla="*/ 1738 h 12608"/>
              <a:gd name="T2" fmla="*/ 4792 w 11758"/>
              <a:gd name="T3" fmla="*/ 1470 h 12608"/>
              <a:gd name="T4" fmla="*/ 11587 w 11758"/>
              <a:gd name="T5" fmla="*/ 5324 h 12608"/>
              <a:gd name="T6" fmla="*/ 6904 w 11758"/>
              <a:gd name="T7" fmla="*/ 11609 h 12608"/>
              <a:gd name="T8" fmla="*/ 4154 w 11758"/>
              <a:gd name="T9" fmla="*/ 7173 h 12608"/>
              <a:gd name="T10" fmla="*/ 6181 w 11758"/>
              <a:gd name="T11" fmla="*/ 11902 h 12608"/>
              <a:gd name="T12" fmla="*/ 6865 w 11758"/>
              <a:gd name="T13" fmla="*/ 12180 h 12608"/>
              <a:gd name="T14" fmla="*/ 6490 w 11758"/>
              <a:gd name="T15" fmla="*/ 11438 h 12608"/>
              <a:gd name="T16" fmla="*/ 9142 w 11758"/>
              <a:gd name="T17" fmla="*/ 9015 h 12608"/>
              <a:gd name="T18" fmla="*/ 8369 w 11758"/>
              <a:gd name="T19" fmla="*/ 7046 h 12608"/>
              <a:gd name="T20" fmla="*/ 9088 w 11758"/>
              <a:gd name="T21" fmla="*/ 8500 h 12608"/>
              <a:gd name="T22" fmla="*/ 6497 w 11758"/>
              <a:gd name="T23" fmla="*/ 9718 h 12608"/>
              <a:gd name="T24" fmla="*/ 6287 w 11758"/>
              <a:gd name="T25" fmla="*/ 9840 h 12608"/>
              <a:gd name="T26" fmla="*/ 6568 w 11758"/>
              <a:gd name="T27" fmla="*/ 9699 h 12608"/>
              <a:gd name="T28" fmla="*/ 4929 w 11758"/>
              <a:gd name="T29" fmla="*/ 6963 h 12608"/>
              <a:gd name="T30" fmla="*/ 4827 w 11758"/>
              <a:gd name="T31" fmla="*/ 7042 h 12608"/>
              <a:gd name="T32" fmla="*/ 6491 w 11758"/>
              <a:gd name="T33" fmla="*/ 7005 h 12608"/>
              <a:gd name="T34" fmla="*/ 7761 w 11758"/>
              <a:gd name="T35" fmla="*/ 4928 h 12608"/>
              <a:gd name="T36" fmla="*/ 4557 w 11758"/>
              <a:gd name="T37" fmla="*/ 4787 h 12608"/>
              <a:gd name="T38" fmla="*/ 4931 w 11758"/>
              <a:gd name="T39" fmla="*/ 6395 h 12608"/>
              <a:gd name="T40" fmla="*/ 6770 w 11758"/>
              <a:gd name="T41" fmla="*/ 7378 h 12608"/>
              <a:gd name="T42" fmla="*/ 6603 w 11758"/>
              <a:gd name="T43" fmla="*/ 6950 h 12608"/>
              <a:gd name="T44" fmla="*/ 8559 w 11758"/>
              <a:gd name="T45" fmla="*/ 6271 h 12608"/>
              <a:gd name="T46" fmla="*/ 8590 w 11758"/>
              <a:gd name="T47" fmla="*/ 6713 h 12608"/>
              <a:gd name="T48" fmla="*/ 8783 w 11758"/>
              <a:gd name="T49" fmla="*/ 6047 h 12608"/>
              <a:gd name="T50" fmla="*/ 11297 w 11758"/>
              <a:gd name="T51" fmla="*/ 5129 h 12608"/>
              <a:gd name="T52" fmla="*/ 11413 w 11758"/>
              <a:gd name="T53" fmla="*/ 5071 h 12608"/>
              <a:gd name="T54" fmla="*/ 11137 w 11758"/>
              <a:gd name="T55" fmla="*/ 4634 h 12608"/>
              <a:gd name="T56" fmla="*/ 10809 w 11758"/>
              <a:gd name="T57" fmla="*/ 4547 h 12608"/>
              <a:gd name="T58" fmla="*/ 8582 w 11758"/>
              <a:gd name="T59" fmla="*/ 5102 h 12608"/>
              <a:gd name="T60" fmla="*/ 8205 w 11758"/>
              <a:gd name="T61" fmla="*/ 5155 h 12608"/>
              <a:gd name="T62" fmla="*/ 8043 w 11758"/>
              <a:gd name="T63" fmla="*/ 4835 h 12608"/>
              <a:gd name="T64" fmla="*/ 7416 w 11758"/>
              <a:gd name="T65" fmla="*/ 5997 h 12608"/>
              <a:gd name="T66" fmla="*/ 1406 w 11758"/>
              <a:gd name="T67" fmla="*/ 4840 h 12608"/>
              <a:gd name="T68" fmla="*/ 975 w 11758"/>
              <a:gd name="T69" fmla="*/ 5151 h 12608"/>
              <a:gd name="T70" fmla="*/ 2306 w 11758"/>
              <a:gd name="T71" fmla="*/ 4943 h 12608"/>
              <a:gd name="T72" fmla="*/ 4796 w 11758"/>
              <a:gd name="T73" fmla="*/ 4170 h 12608"/>
              <a:gd name="T74" fmla="*/ 5234 w 11758"/>
              <a:gd name="T75" fmla="*/ 4273 h 12608"/>
              <a:gd name="T76" fmla="*/ 4633 w 11758"/>
              <a:gd name="T77" fmla="*/ 4493 h 12608"/>
              <a:gd name="T78" fmla="*/ 5542 w 11758"/>
              <a:gd name="T79" fmla="*/ 4247 h 12608"/>
              <a:gd name="T80" fmla="*/ 5334 w 11758"/>
              <a:gd name="T81" fmla="*/ 4009 h 12608"/>
              <a:gd name="T82" fmla="*/ 1009 w 11758"/>
              <a:gd name="T83" fmla="*/ 2861 h 12608"/>
              <a:gd name="T84" fmla="*/ 1331 w 11758"/>
              <a:gd name="T85" fmla="*/ 3239 h 12608"/>
              <a:gd name="T86" fmla="*/ 2372 w 11758"/>
              <a:gd name="T87" fmla="*/ 4914 h 12608"/>
              <a:gd name="T88" fmla="*/ 1736 w 11758"/>
              <a:gd name="T89" fmla="*/ 3135 h 12608"/>
              <a:gd name="T90" fmla="*/ 3367 w 11758"/>
              <a:gd name="T91" fmla="*/ 3461 h 12608"/>
              <a:gd name="T92" fmla="*/ 2863 w 11758"/>
              <a:gd name="T93" fmla="*/ 3410 h 12608"/>
              <a:gd name="T94" fmla="*/ 3318 w 11758"/>
              <a:gd name="T95" fmla="*/ 2906 h 12608"/>
              <a:gd name="T96" fmla="*/ 2814 w 11758"/>
              <a:gd name="T97" fmla="*/ 3194 h 12608"/>
              <a:gd name="T98" fmla="*/ 7467 w 11758"/>
              <a:gd name="T99" fmla="*/ 2889 h 12608"/>
              <a:gd name="T100" fmla="*/ 7799 w 11758"/>
              <a:gd name="T101" fmla="*/ 3487 h 12608"/>
              <a:gd name="T102" fmla="*/ 7401 w 11758"/>
              <a:gd name="T103" fmla="*/ 3569 h 12608"/>
              <a:gd name="T104" fmla="*/ 7986 w 11758"/>
              <a:gd name="T105" fmla="*/ 3749 h 12608"/>
              <a:gd name="T106" fmla="*/ 5146 w 11758"/>
              <a:gd name="T107" fmla="*/ 1685 h 12608"/>
              <a:gd name="T108" fmla="*/ 4964 w 11758"/>
              <a:gd name="T109" fmla="*/ 1883 h 12608"/>
              <a:gd name="T110" fmla="*/ 5960 w 11758"/>
              <a:gd name="T111" fmla="*/ 1417 h 12608"/>
              <a:gd name="T112" fmla="*/ 5377 w 11758"/>
              <a:gd name="T113" fmla="*/ 1984 h 12608"/>
              <a:gd name="T114" fmla="*/ 4332 w 11758"/>
              <a:gd name="T115" fmla="*/ 408 h 12608"/>
              <a:gd name="T116" fmla="*/ 4152 w 11758"/>
              <a:gd name="T117" fmla="*/ 833 h 12608"/>
              <a:gd name="T118" fmla="*/ 3896 w 11758"/>
              <a:gd name="T119" fmla="*/ 999 h 12608"/>
              <a:gd name="T120" fmla="*/ 1422 w 11758"/>
              <a:gd name="T121" fmla="*/ 2146 h 12608"/>
              <a:gd name="T122" fmla="*/ 7317 w 11758"/>
              <a:gd name="T123" fmla="*/ 10519 h 12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758" h="12608">
                <a:moveTo>
                  <a:pt x="142" y="3901"/>
                </a:moveTo>
                <a:cubicBezTo>
                  <a:pt x="181" y="3901"/>
                  <a:pt x="216" y="3917"/>
                  <a:pt x="242" y="3942"/>
                </a:cubicBezTo>
                <a:lnTo>
                  <a:pt x="779" y="3517"/>
                </a:lnTo>
                <a:cubicBezTo>
                  <a:pt x="690" y="3415"/>
                  <a:pt x="636" y="3281"/>
                  <a:pt x="636" y="3135"/>
                </a:cubicBezTo>
                <a:cubicBezTo>
                  <a:pt x="636" y="2973"/>
                  <a:pt x="702" y="2827"/>
                  <a:pt x="808" y="2721"/>
                </a:cubicBezTo>
                <a:cubicBezTo>
                  <a:pt x="913" y="2615"/>
                  <a:pt x="1060" y="2550"/>
                  <a:pt x="1221" y="2550"/>
                </a:cubicBezTo>
                <a:cubicBezTo>
                  <a:pt x="1268" y="2550"/>
                  <a:pt x="1314" y="2555"/>
                  <a:pt x="1357" y="2566"/>
                </a:cubicBezTo>
                <a:lnTo>
                  <a:pt x="1389" y="2421"/>
                </a:lnTo>
                <a:cubicBezTo>
                  <a:pt x="1334" y="2402"/>
                  <a:pt x="1295" y="2349"/>
                  <a:pt x="1295" y="2287"/>
                </a:cubicBezTo>
                <a:cubicBezTo>
                  <a:pt x="1295" y="2226"/>
                  <a:pt x="1334" y="2174"/>
                  <a:pt x="1388" y="2154"/>
                </a:cubicBezTo>
                <a:lnTo>
                  <a:pt x="1309" y="1808"/>
                </a:lnTo>
                <a:cubicBezTo>
                  <a:pt x="1304" y="1808"/>
                  <a:pt x="1299" y="1809"/>
                  <a:pt x="1295" y="1809"/>
                </a:cubicBezTo>
                <a:cubicBezTo>
                  <a:pt x="1216" y="1809"/>
                  <a:pt x="1153" y="1745"/>
                  <a:pt x="1153" y="1667"/>
                </a:cubicBezTo>
                <a:cubicBezTo>
                  <a:pt x="1153" y="1588"/>
                  <a:pt x="1216" y="1525"/>
                  <a:pt x="1295" y="1525"/>
                </a:cubicBezTo>
                <a:cubicBezTo>
                  <a:pt x="1344" y="1525"/>
                  <a:pt x="1388" y="1551"/>
                  <a:pt x="1414" y="1589"/>
                </a:cubicBezTo>
                <a:cubicBezTo>
                  <a:pt x="1536" y="1530"/>
                  <a:pt x="1659" y="1470"/>
                  <a:pt x="1781" y="1411"/>
                </a:cubicBezTo>
                <a:cubicBezTo>
                  <a:pt x="1776" y="1397"/>
                  <a:pt x="1773" y="1381"/>
                  <a:pt x="1773" y="1365"/>
                </a:cubicBezTo>
                <a:cubicBezTo>
                  <a:pt x="1773" y="1287"/>
                  <a:pt x="1837" y="1223"/>
                  <a:pt x="1915" y="1223"/>
                </a:cubicBezTo>
                <a:cubicBezTo>
                  <a:pt x="1994" y="1223"/>
                  <a:pt x="2057" y="1287"/>
                  <a:pt x="2057" y="1365"/>
                </a:cubicBezTo>
                <a:cubicBezTo>
                  <a:pt x="2057" y="1406"/>
                  <a:pt x="2040" y="1443"/>
                  <a:pt x="2012" y="1469"/>
                </a:cubicBezTo>
                <a:lnTo>
                  <a:pt x="2219" y="1755"/>
                </a:lnTo>
                <a:cubicBezTo>
                  <a:pt x="2240" y="1744"/>
                  <a:pt x="2263" y="1738"/>
                  <a:pt x="2288" y="1738"/>
                </a:cubicBezTo>
                <a:cubicBezTo>
                  <a:pt x="2332" y="1738"/>
                  <a:pt x="2372" y="1758"/>
                  <a:pt x="2398" y="1790"/>
                </a:cubicBezTo>
                <a:lnTo>
                  <a:pt x="3045" y="1389"/>
                </a:lnTo>
                <a:cubicBezTo>
                  <a:pt x="3037" y="1371"/>
                  <a:pt x="3033" y="1351"/>
                  <a:pt x="3033" y="1330"/>
                </a:cubicBezTo>
                <a:cubicBezTo>
                  <a:pt x="3033" y="1285"/>
                  <a:pt x="3053" y="1245"/>
                  <a:pt x="3085" y="1219"/>
                </a:cubicBezTo>
                <a:lnTo>
                  <a:pt x="3003" y="1086"/>
                </a:lnTo>
                <a:cubicBezTo>
                  <a:pt x="2985" y="1095"/>
                  <a:pt x="2965" y="1099"/>
                  <a:pt x="2944" y="1099"/>
                </a:cubicBezTo>
                <a:cubicBezTo>
                  <a:pt x="2866" y="1099"/>
                  <a:pt x="2802" y="1036"/>
                  <a:pt x="2802" y="957"/>
                </a:cubicBezTo>
                <a:cubicBezTo>
                  <a:pt x="2802" y="879"/>
                  <a:pt x="2866" y="816"/>
                  <a:pt x="2944" y="816"/>
                </a:cubicBezTo>
                <a:cubicBezTo>
                  <a:pt x="3008" y="816"/>
                  <a:pt x="3062" y="858"/>
                  <a:pt x="3080" y="917"/>
                </a:cubicBezTo>
                <a:lnTo>
                  <a:pt x="3766" y="801"/>
                </a:lnTo>
                <a:cubicBezTo>
                  <a:pt x="3739" y="734"/>
                  <a:pt x="3724" y="661"/>
                  <a:pt x="3724" y="585"/>
                </a:cubicBezTo>
                <a:cubicBezTo>
                  <a:pt x="3724" y="423"/>
                  <a:pt x="3790" y="277"/>
                  <a:pt x="3896" y="171"/>
                </a:cubicBezTo>
                <a:cubicBezTo>
                  <a:pt x="4002" y="66"/>
                  <a:pt x="4148" y="0"/>
                  <a:pt x="4309" y="0"/>
                </a:cubicBezTo>
                <a:cubicBezTo>
                  <a:pt x="4471" y="0"/>
                  <a:pt x="4617" y="66"/>
                  <a:pt x="4723" y="171"/>
                </a:cubicBezTo>
                <a:cubicBezTo>
                  <a:pt x="4829" y="277"/>
                  <a:pt x="4894" y="423"/>
                  <a:pt x="4894" y="585"/>
                </a:cubicBezTo>
                <a:cubicBezTo>
                  <a:pt x="4894" y="747"/>
                  <a:pt x="4829" y="893"/>
                  <a:pt x="4723" y="999"/>
                </a:cubicBezTo>
                <a:cubicBezTo>
                  <a:pt x="4617" y="1104"/>
                  <a:pt x="4471" y="1170"/>
                  <a:pt x="4309" y="1170"/>
                </a:cubicBezTo>
                <a:cubicBezTo>
                  <a:pt x="4303" y="1170"/>
                  <a:pt x="4297" y="1170"/>
                  <a:pt x="4290" y="1170"/>
                </a:cubicBezTo>
                <a:lnTo>
                  <a:pt x="4268" y="1439"/>
                </a:lnTo>
                <a:cubicBezTo>
                  <a:pt x="4325" y="1451"/>
                  <a:pt x="4370" y="1498"/>
                  <a:pt x="4379" y="1556"/>
                </a:cubicBezTo>
                <a:lnTo>
                  <a:pt x="4797" y="1544"/>
                </a:lnTo>
                <a:cubicBezTo>
                  <a:pt x="4794" y="1520"/>
                  <a:pt x="4792" y="1495"/>
                  <a:pt x="4792" y="1470"/>
                </a:cubicBezTo>
                <a:cubicBezTo>
                  <a:pt x="4792" y="1308"/>
                  <a:pt x="4858" y="1162"/>
                  <a:pt x="4964" y="1056"/>
                </a:cubicBezTo>
                <a:cubicBezTo>
                  <a:pt x="5070" y="950"/>
                  <a:pt x="5216" y="885"/>
                  <a:pt x="5377" y="885"/>
                </a:cubicBezTo>
                <a:cubicBezTo>
                  <a:pt x="5539" y="885"/>
                  <a:pt x="5685" y="950"/>
                  <a:pt x="5791" y="1056"/>
                </a:cubicBezTo>
                <a:cubicBezTo>
                  <a:pt x="5877" y="1142"/>
                  <a:pt x="5936" y="1255"/>
                  <a:pt x="5956" y="1381"/>
                </a:cubicBezTo>
                <a:lnTo>
                  <a:pt x="6670" y="1175"/>
                </a:lnTo>
                <a:cubicBezTo>
                  <a:pt x="6669" y="1167"/>
                  <a:pt x="6668" y="1160"/>
                  <a:pt x="6668" y="1152"/>
                </a:cubicBezTo>
                <a:cubicBezTo>
                  <a:pt x="6668" y="1074"/>
                  <a:pt x="6731" y="1011"/>
                  <a:pt x="6810" y="1011"/>
                </a:cubicBezTo>
                <a:cubicBezTo>
                  <a:pt x="6888" y="1011"/>
                  <a:pt x="6952" y="1074"/>
                  <a:pt x="6952" y="1152"/>
                </a:cubicBezTo>
                <a:cubicBezTo>
                  <a:pt x="6952" y="1202"/>
                  <a:pt x="6926" y="1246"/>
                  <a:pt x="6887" y="1271"/>
                </a:cubicBezTo>
                <a:lnTo>
                  <a:pt x="7101" y="1710"/>
                </a:lnTo>
                <a:cubicBezTo>
                  <a:pt x="7115" y="1705"/>
                  <a:pt x="7131" y="1702"/>
                  <a:pt x="7147" y="1702"/>
                </a:cubicBezTo>
                <a:cubicBezTo>
                  <a:pt x="7225" y="1702"/>
                  <a:pt x="7289" y="1766"/>
                  <a:pt x="7289" y="1844"/>
                </a:cubicBezTo>
                <a:cubicBezTo>
                  <a:pt x="7289" y="1858"/>
                  <a:pt x="7287" y="1871"/>
                  <a:pt x="7283" y="1883"/>
                </a:cubicBezTo>
                <a:lnTo>
                  <a:pt x="11280" y="3582"/>
                </a:lnTo>
                <a:cubicBezTo>
                  <a:pt x="11305" y="3539"/>
                  <a:pt x="11350" y="3511"/>
                  <a:pt x="11403" y="3511"/>
                </a:cubicBezTo>
                <a:cubicBezTo>
                  <a:pt x="11481" y="3511"/>
                  <a:pt x="11545" y="3575"/>
                  <a:pt x="11545" y="3653"/>
                </a:cubicBezTo>
                <a:cubicBezTo>
                  <a:pt x="11545" y="3731"/>
                  <a:pt x="11481" y="3795"/>
                  <a:pt x="11403" y="3795"/>
                </a:cubicBezTo>
                <a:cubicBezTo>
                  <a:pt x="11400" y="3795"/>
                  <a:pt x="11398" y="3795"/>
                  <a:pt x="11395" y="3795"/>
                </a:cubicBezTo>
                <a:lnTo>
                  <a:pt x="11298" y="4339"/>
                </a:lnTo>
                <a:cubicBezTo>
                  <a:pt x="11410" y="4363"/>
                  <a:pt x="11509" y="4419"/>
                  <a:pt x="11587" y="4497"/>
                </a:cubicBezTo>
                <a:cubicBezTo>
                  <a:pt x="11692" y="4603"/>
                  <a:pt x="11758" y="4749"/>
                  <a:pt x="11758" y="4910"/>
                </a:cubicBezTo>
                <a:cubicBezTo>
                  <a:pt x="11758" y="5072"/>
                  <a:pt x="11692" y="5218"/>
                  <a:pt x="11587" y="5324"/>
                </a:cubicBezTo>
                <a:cubicBezTo>
                  <a:pt x="11481" y="5430"/>
                  <a:pt x="11335" y="5495"/>
                  <a:pt x="11173" y="5495"/>
                </a:cubicBezTo>
                <a:cubicBezTo>
                  <a:pt x="11023" y="5495"/>
                  <a:pt x="10886" y="5439"/>
                  <a:pt x="10783" y="5346"/>
                </a:cubicBezTo>
                <a:lnTo>
                  <a:pt x="10364" y="5749"/>
                </a:lnTo>
                <a:cubicBezTo>
                  <a:pt x="10381" y="5773"/>
                  <a:pt x="10392" y="5802"/>
                  <a:pt x="10392" y="5834"/>
                </a:cubicBezTo>
                <a:cubicBezTo>
                  <a:pt x="10392" y="5912"/>
                  <a:pt x="10328" y="5976"/>
                  <a:pt x="10250" y="5976"/>
                </a:cubicBezTo>
                <a:cubicBezTo>
                  <a:pt x="10243" y="5976"/>
                  <a:pt x="10236" y="5975"/>
                  <a:pt x="10229" y="5974"/>
                </a:cubicBezTo>
                <a:lnTo>
                  <a:pt x="9584" y="8294"/>
                </a:lnTo>
                <a:cubicBezTo>
                  <a:pt x="9693" y="8319"/>
                  <a:pt x="9790" y="8374"/>
                  <a:pt x="9866" y="8450"/>
                </a:cubicBezTo>
                <a:cubicBezTo>
                  <a:pt x="9971" y="8556"/>
                  <a:pt x="10037" y="8702"/>
                  <a:pt x="10037" y="8864"/>
                </a:cubicBezTo>
                <a:cubicBezTo>
                  <a:pt x="10037" y="9026"/>
                  <a:pt x="9971" y="9172"/>
                  <a:pt x="9866" y="9278"/>
                </a:cubicBezTo>
                <a:cubicBezTo>
                  <a:pt x="9760" y="9383"/>
                  <a:pt x="9614" y="9449"/>
                  <a:pt x="9452" y="9449"/>
                </a:cubicBezTo>
                <a:cubicBezTo>
                  <a:pt x="9290" y="9449"/>
                  <a:pt x="9144" y="9383"/>
                  <a:pt x="9038" y="9278"/>
                </a:cubicBezTo>
                <a:cubicBezTo>
                  <a:pt x="8979" y="9218"/>
                  <a:pt x="8933" y="9146"/>
                  <a:pt x="8903" y="9066"/>
                </a:cubicBezTo>
                <a:lnTo>
                  <a:pt x="7656" y="9591"/>
                </a:lnTo>
                <a:cubicBezTo>
                  <a:pt x="7659" y="9603"/>
                  <a:pt x="7661" y="9616"/>
                  <a:pt x="7661" y="9629"/>
                </a:cubicBezTo>
                <a:cubicBezTo>
                  <a:pt x="7661" y="9706"/>
                  <a:pt x="7600" y="9768"/>
                  <a:pt x="7524" y="9771"/>
                </a:cubicBezTo>
                <a:lnTo>
                  <a:pt x="7461" y="10466"/>
                </a:lnTo>
                <a:cubicBezTo>
                  <a:pt x="7525" y="10480"/>
                  <a:pt x="7572" y="10536"/>
                  <a:pt x="7572" y="10604"/>
                </a:cubicBezTo>
                <a:cubicBezTo>
                  <a:pt x="7572" y="10683"/>
                  <a:pt x="7509" y="10746"/>
                  <a:pt x="7430" y="10746"/>
                </a:cubicBezTo>
                <a:cubicBezTo>
                  <a:pt x="7410" y="10746"/>
                  <a:pt x="7390" y="10742"/>
                  <a:pt x="7372" y="10734"/>
                </a:cubicBezTo>
                <a:lnTo>
                  <a:pt x="6862" y="11572"/>
                </a:lnTo>
                <a:cubicBezTo>
                  <a:pt x="6876" y="11583"/>
                  <a:pt x="6890" y="11596"/>
                  <a:pt x="6904" y="11609"/>
                </a:cubicBezTo>
                <a:cubicBezTo>
                  <a:pt x="7009" y="11715"/>
                  <a:pt x="7075" y="11861"/>
                  <a:pt x="7075" y="12023"/>
                </a:cubicBezTo>
                <a:cubicBezTo>
                  <a:pt x="7075" y="12184"/>
                  <a:pt x="7009" y="12331"/>
                  <a:pt x="6904" y="12436"/>
                </a:cubicBezTo>
                <a:cubicBezTo>
                  <a:pt x="6798" y="12542"/>
                  <a:pt x="6651" y="12608"/>
                  <a:pt x="6490" y="12608"/>
                </a:cubicBezTo>
                <a:cubicBezTo>
                  <a:pt x="6328" y="12608"/>
                  <a:pt x="6182" y="12542"/>
                  <a:pt x="6076" y="12436"/>
                </a:cubicBezTo>
                <a:cubicBezTo>
                  <a:pt x="5970" y="12331"/>
                  <a:pt x="5905" y="12184"/>
                  <a:pt x="5905" y="12023"/>
                </a:cubicBezTo>
                <a:cubicBezTo>
                  <a:pt x="5905" y="11943"/>
                  <a:pt x="5921" y="11868"/>
                  <a:pt x="5950" y="11799"/>
                </a:cubicBezTo>
                <a:cubicBezTo>
                  <a:pt x="5698" y="11627"/>
                  <a:pt x="5447" y="11455"/>
                  <a:pt x="5196" y="11284"/>
                </a:cubicBezTo>
                <a:cubicBezTo>
                  <a:pt x="5170" y="11313"/>
                  <a:pt x="5132" y="11332"/>
                  <a:pt x="5090" y="11332"/>
                </a:cubicBezTo>
                <a:cubicBezTo>
                  <a:pt x="5011" y="11332"/>
                  <a:pt x="4948" y="11268"/>
                  <a:pt x="4948" y="11190"/>
                </a:cubicBezTo>
                <a:cubicBezTo>
                  <a:pt x="4948" y="11111"/>
                  <a:pt x="5011" y="11048"/>
                  <a:pt x="5090" y="11048"/>
                </a:cubicBezTo>
                <a:cubicBezTo>
                  <a:pt x="5111" y="11048"/>
                  <a:pt x="5131" y="11053"/>
                  <a:pt x="5149" y="11061"/>
                </a:cubicBezTo>
                <a:lnTo>
                  <a:pt x="5677" y="10217"/>
                </a:lnTo>
                <a:cubicBezTo>
                  <a:pt x="5638" y="10192"/>
                  <a:pt x="5602" y="10164"/>
                  <a:pt x="5569" y="10132"/>
                </a:cubicBezTo>
                <a:cubicBezTo>
                  <a:pt x="5464" y="10026"/>
                  <a:pt x="5398" y="9879"/>
                  <a:pt x="5398" y="9718"/>
                </a:cubicBezTo>
                <a:cubicBezTo>
                  <a:pt x="5398" y="9572"/>
                  <a:pt x="5452" y="9438"/>
                  <a:pt x="5541" y="9335"/>
                </a:cubicBezTo>
                <a:lnTo>
                  <a:pt x="4872" y="8626"/>
                </a:lnTo>
                <a:cubicBezTo>
                  <a:pt x="4849" y="8644"/>
                  <a:pt x="4820" y="8654"/>
                  <a:pt x="4788" y="8654"/>
                </a:cubicBezTo>
                <a:cubicBezTo>
                  <a:pt x="4710" y="8654"/>
                  <a:pt x="4646" y="8590"/>
                  <a:pt x="4646" y="8512"/>
                </a:cubicBezTo>
                <a:cubicBezTo>
                  <a:pt x="4646" y="8446"/>
                  <a:pt x="4691" y="8391"/>
                  <a:pt x="4752" y="8375"/>
                </a:cubicBezTo>
                <a:lnTo>
                  <a:pt x="4610" y="7342"/>
                </a:lnTo>
                <a:cubicBezTo>
                  <a:pt x="4596" y="7343"/>
                  <a:pt x="4582" y="7344"/>
                  <a:pt x="4567" y="7344"/>
                </a:cubicBezTo>
                <a:cubicBezTo>
                  <a:pt x="4406" y="7344"/>
                  <a:pt x="4260" y="7278"/>
                  <a:pt x="4154" y="7173"/>
                </a:cubicBezTo>
                <a:cubicBezTo>
                  <a:pt x="4048" y="7067"/>
                  <a:pt x="3983" y="6921"/>
                  <a:pt x="3983" y="6759"/>
                </a:cubicBezTo>
                <a:cubicBezTo>
                  <a:pt x="3983" y="6646"/>
                  <a:pt x="4015" y="6540"/>
                  <a:pt x="4070" y="6451"/>
                </a:cubicBezTo>
                <a:lnTo>
                  <a:pt x="2492" y="5157"/>
                </a:lnTo>
                <a:cubicBezTo>
                  <a:pt x="2466" y="5181"/>
                  <a:pt x="2432" y="5196"/>
                  <a:pt x="2394" y="5196"/>
                </a:cubicBezTo>
                <a:cubicBezTo>
                  <a:pt x="2327" y="5196"/>
                  <a:pt x="2271" y="5150"/>
                  <a:pt x="2256" y="5088"/>
                </a:cubicBezTo>
                <a:lnTo>
                  <a:pt x="1759" y="5145"/>
                </a:lnTo>
                <a:cubicBezTo>
                  <a:pt x="1759" y="5150"/>
                  <a:pt x="1759" y="5154"/>
                  <a:pt x="1759" y="5158"/>
                </a:cubicBezTo>
                <a:cubicBezTo>
                  <a:pt x="1759" y="5320"/>
                  <a:pt x="1693" y="5466"/>
                  <a:pt x="1588" y="5572"/>
                </a:cubicBezTo>
                <a:cubicBezTo>
                  <a:pt x="1482" y="5678"/>
                  <a:pt x="1335" y="5743"/>
                  <a:pt x="1174" y="5743"/>
                </a:cubicBezTo>
                <a:cubicBezTo>
                  <a:pt x="1012" y="5743"/>
                  <a:pt x="866" y="5678"/>
                  <a:pt x="760" y="5572"/>
                </a:cubicBezTo>
                <a:cubicBezTo>
                  <a:pt x="655" y="5466"/>
                  <a:pt x="589" y="5320"/>
                  <a:pt x="589" y="5158"/>
                </a:cubicBezTo>
                <a:cubicBezTo>
                  <a:pt x="589" y="5001"/>
                  <a:pt x="651" y="4858"/>
                  <a:pt x="752" y="4753"/>
                </a:cubicBezTo>
                <a:cubicBezTo>
                  <a:pt x="576" y="4555"/>
                  <a:pt x="399" y="4358"/>
                  <a:pt x="223" y="4160"/>
                </a:cubicBezTo>
                <a:cubicBezTo>
                  <a:pt x="200" y="4176"/>
                  <a:pt x="172" y="4185"/>
                  <a:pt x="142" y="4185"/>
                </a:cubicBezTo>
                <a:cubicBezTo>
                  <a:pt x="64" y="4185"/>
                  <a:pt x="0" y="4121"/>
                  <a:pt x="0" y="4043"/>
                </a:cubicBezTo>
                <a:cubicBezTo>
                  <a:pt x="0" y="3965"/>
                  <a:pt x="64" y="3901"/>
                  <a:pt x="142" y="3901"/>
                </a:cubicBezTo>
                <a:close/>
                <a:moveTo>
                  <a:pt x="6865" y="11974"/>
                </a:moveTo>
                <a:lnTo>
                  <a:pt x="6865" y="11965"/>
                </a:lnTo>
                <a:cubicBezTo>
                  <a:pt x="6865" y="11930"/>
                  <a:pt x="6836" y="11902"/>
                  <a:pt x="6802" y="11902"/>
                </a:cubicBezTo>
                <a:lnTo>
                  <a:pt x="6799" y="11902"/>
                </a:lnTo>
                <a:cubicBezTo>
                  <a:pt x="6799" y="11732"/>
                  <a:pt x="6660" y="11593"/>
                  <a:pt x="6490" y="11593"/>
                </a:cubicBezTo>
                <a:cubicBezTo>
                  <a:pt x="6320" y="11593"/>
                  <a:pt x="6181" y="11732"/>
                  <a:pt x="6181" y="11902"/>
                </a:cubicBezTo>
                <a:lnTo>
                  <a:pt x="6178" y="11902"/>
                </a:lnTo>
                <a:cubicBezTo>
                  <a:pt x="6143" y="11902"/>
                  <a:pt x="6115" y="11930"/>
                  <a:pt x="6115" y="11965"/>
                </a:cubicBezTo>
                <a:lnTo>
                  <a:pt x="6115" y="11974"/>
                </a:lnTo>
                <a:cubicBezTo>
                  <a:pt x="6095" y="11974"/>
                  <a:pt x="6078" y="11991"/>
                  <a:pt x="6078" y="12011"/>
                </a:cubicBezTo>
                <a:lnTo>
                  <a:pt x="6078" y="12143"/>
                </a:lnTo>
                <a:cubicBezTo>
                  <a:pt x="6078" y="12164"/>
                  <a:pt x="6095" y="12180"/>
                  <a:pt x="6115" y="12180"/>
                </a:cubicBezTo>
                <a:lnTo>
                  <a:pt x="6115" y="12190"/>
                </a:lnTo>
                <a:cubicBezTo>
                  <a:pt x="6115" y="12225"/>
                  <a:pt x="6143" y="12253"/>
                  <a:pt x="6178" y="12253"/>
                </a:cubicBezTo>
                <a:lnTo>
                  <a:pt x="6233" y="12253"/>
                </a:lnTo>
                <a:cubicBezTo>
                  <a:pt x="6267" y="12253"/>
                  <a:pt x="6296" y="12225"/>
                  <a:pt x="6296" y="12190"/>
                </a:cubicBezTo>
                <a:lnTo>
                  <a:pt x="6296" y="11965"/>
                </a:lnTo>
                <a:cubicBezTo>
                  <a:pt x="6296" y="11930"/>
                  <a:pt x="6267" y="11902"/>
                  <a:pt x="6233" y="11902"/>
                </a:cubicBezTo>
                <a:lnTo>
                  <a:pt x="6229" y="11902"/>
                </a:lnTo>
                <a:cubicBezTo>
                  <a:pt x="6229" y="11758"/>
                  <a:pt x="6346" y="11641"/>
                  <a:pt x="6490" y="11641"/>
                </a:cubicBezTo>
                <a:cubicBezTo>
                  <a:pt x="6633" y="11641"/>
                  <a:pt x="6750" y="11758"/>
                  <a:pt x="6750" y="11902"/>
                </a:cubicBezTo>
                <a:lnTo>
                  <a:pt x="6747" y="11902"/>
                </a:lnTo>
                <a:cubicBezTo>
                  <a:pt x="6712" y="11902"/>
                  <a:pt x="6684" y="11930"/>
                  <a:pt x="6684" y="11965"/>
                </a:cubicBezTo>
                <a:lnTo>
                  <a:pt x="6684" y="12190"/>
                </a:lnTo>
                <a:cubicBezTo>
                  <a:pt x="6684" y="12225"/>
                  <a:pt x="6712" y="12253"/>
                  <a:pt x="6747" y="12253"/>
                </a:cubicBezTo>
                <a:lnTo>
                  <a:pt x="6802" y="12253"/>
                </a:lnTo>
                <a:cubicBezTo>
                  <a:pt x="6836" y="12253"/>
                  <a:pt x="6865" y="12225"/>
                  <a:pt x="6865" y="12190"/>
                </a:cubicBezTo>
                <a:lnTo>
                  <a:pt x="6865" y="12180"/>
                </a:lnTo>
                <a:cubicBezTo>
                  <a:pt x="6885" y="12180"/>
                  <a:pt x="6902" y="12164"/>
                  <a:pt x="6902" y="12143"/>
                </a:cubicBezTo>
                <a:lnTo>
                  <a:pt x="6902" y="12011"/>
                </a:lnTo>
                <a:cubicBezTo>
                  <a:pt x="6902" y="11991"/>
                  <a:pt x="6885" y="11974"/>
                  <a:pt x="6865" y="11974"/>
                </a:cubicBezTo>
                <a:close/>
                <a:moveTo>
                  <a:pt x="6834" y="11550"/>
                </a:moveTo>
                <a:lnTo>
                  <a:pt x="7342" y="10716"/>
                </a:lnTo>
                <a:cubicBezTo>
                  <a:pt x="7310" y="10690"/>
                  <a:pt x="7289" y="10649"/>
                  <a:pt x="7289" y="10604"/>
                </a:cubicBezTo>
                <a:cubicBezTo>
                  <a:pt x="7289" y="10585"/>
                  <a:pt x="7292" y="10567"/>
                  <a:pt x="7300" y="10550"/>
                </a:cubicBezTo>
                <a:lnTo>
                  <a:pt x="6739" y="10228"/>
                </a:lnTo>
                <a:lnTo>
                  <a:pt x="6593" y="11447"/>
                </a:lnTo>
                <a:cubicBezTo>
                  <a:pt x="6682" y="11463"/>
                  <a:pt x="6764" y="11499"/>
                  <a:pt x="6834" y="11550"/>
                </a:cubicBezTo>
                <a:close/>
                <a:moveTo>
                  <a:pt x="6558" y="11442"/>
                </a:moveTo>
                <a:lnTo>
                  <a:pt x="6706" y="10209"/>
                </a:lnTo>
                <a:lnTo>
                  <a:pt x="6454" y="10065"/>
                </a:lnTo>
                <a:cubicBezTo>
                  <a:pt x="6436" y="10089"/>
                  <a:pt x="6417" y="10111"/>
                  <a:pt x="6397" y="10132"/>
                </a:cubicBezTo>
                <a:cubicBezTo>
                  <a:pt x="6291" y="10237"/>
                  <a:pt x="6144" y="10303"/>
                  <a:pt x="5983" y="10303"/>
                </a:cubicBezTo>
                <a:cubicBezTo>
                  <a:pt x="5883" y="10303"/>
                  <a:pt x="5790" y="10278"/>
                  <a:pt x="5708" y="10234"/>
                </a:cubicBezTo>
                <a:lnTo>
                  <a:pt x="5179" y="11080"/>
                </a:lnTo>
                <a:cubicBezTo>
                  <a:pt x="5211" y="11106"/>
                  <a:pt x="5231" y="11145"/>
                  <a:pt x="5231" y="11190"/>
                </a:cubicBezTo>
                <a:cubicBezTo>
                  <a:pt x="5231" y="11213"/>
                  <a:pt x="5226" y="11235"/>
                  <a:pt x="5216" y="11255"/>
                </a:cubicBezTo>
                <a:lnTo>
                  <a:pt x="5964" y="11766"/>
                </a:lnTo>
                <a:cubicBezTo>
                  <a:pt x="5993" y="11708"/>
                  <a:pt x="6031" y="11655"/>
                  <a:pt x="6076" y="11609"/>
                </a:cubicBezTo>
                <a:cubicBezTo>
                  <a:pt x="6182" y="11503"/>
                  <a:pt x="6328" y="11438"/>
                  <a:pt x="6490" y="11438"/>
                </a:cubicBezTo>
                <a:cubicBezTo>
                  <a:pt x="6513" y="11438"/>
                  <a:pt x="6535" y="11439"/>
                  <a:pt x="6558" y="11442"/>
                </a:cubicBezTo>
                <a:close/>
                <a:moveTo>
                  <a:pt x="6854" y="11659"/>
                </a:moveTo>
                <a:cubicBezTo>
                  <a:pt x="6761" y="11566"/>
                  <a:pt x="6632" y="11508"/>
                  <a:pt x="6490" y="11508"/>
                </a:cubicBezTo>
                <a:cubicBezTo>
                  <a:pt x="6348" y="11508"/>
                  <a:pt x="6219" y="11566"/>
                  <a:pt x="6126" y="11659"/>
                </a:cubicBezTo>
                <a:cubicBezTo>
                  <a:pt x="6033" y="11752"/>
                  <a:pt x="5975" y="11881"/>
                  <a:pt x="5975" y="12023"/>
                </a:cubicBezTo>
                <a:cubicBezTo>
                  <a:pt x="5975" y="12165"/>
                  <a:pt x="6033" y="12294"/>
                  <a:pt x="6126" y="12387"/>
                </a:cubicBezTo>
                <a:cubicBezTo>
                  <a:pt x="6219" y="12480"/>
                  <a:pt x="6348" y="12537"/>
                  <a:pt x="6490" y="12537"/>
                </a:cubicBezTo>
                <a:cubicBezTo>
                  <a:pt x="6632" y="12537"/>
                  <a:pt x="6761" y="12480"/>
                  <a:pt x="6854" y="12387"/>
                </a:cubicBezTo>
                <a:cubicBezTo>
                  <a:pt x="6947" y="12294"/>
                  <a:pt x="7004" y="12165"/>
                  <a:pt x="7004" y="12023"/>
                </a:cubicBezTo>
                <a:cubicBezTo>
                  <a:pt x="7004" y="11881"/>
                  <a:pt x="6947" y="11752"/>
                  <a:pt x="6854" y="11659"/>
                </a:cubicBezTo>
                <a:close/>
                <a:moveTo>
                  <a:pt x="9541" y="9116"/>
                </a:moveTo>
                <a:lnTo>
                  <a:pt x="9380" y="9116"/>
                </a:lnTo>
                <a:lnTo>
                  <a:pt x="9380" y="9097"/>
                </a:lnTo>
                <a:lnTo>
                  <a:pt x="9541" y="9097"/>
                </a:lnTo>
                <a:lnTo>
                  <a:pt x="9541" y="9116"/>
                </a:lnTo>
                <a:close/>
                <a:moveTo>
                  <a:pt x="9055" y="9085"/>
                </a:moveTo>
                <a:lnTo>
                  <a:pt x="9055" y="9134"/>
                </a:lnTo>
                <a:lnTo>
                  <a:pt x="9849" y="9135"/>
                </a:lnTo>
                <a:lnTo>
                  <a:pt x="9849" y="9086"/>
                </a:lnTo>
                <a:lnTo>
                  <a:pt x="9055" y="9085"/>
                </a:lnTo>
                <a:close/>
                <a:moveTo>
                  <a:pt x="9742" y="9015"/>
                </a:moveTo>
                <a:lnTo>
                  <a:pt x="9142" y="9015"/>
                </a:lnTo>
                <a:lnTo>
                  <a:pt x="9143" y="8638"/>
                </a:lnTo>
                <a:lnTo>
                  <a:pt x="9743" y="8638"/>
                </a:lnTo>
                <a:lnTo>
                  <a:pt x="9742" y="9015"/>
                </a:lnTo>
                <a:close/>
                <a:moveTo>
                  <a:pt x="9788" y="8593"/>
                </a:moveTo>
                <a:lnTo>
                  <a:pt x="9098" y="8593"/>
                </a:lnTo>
                <a:lnTo>
                  <a:pt x="9097" y="9060"/>
                </a:lnTo>
                <a:lnTo>
                  <a:pt x="9787" y="9060"/>
                </a:lnTo>
                <a:lnTo>
                  <a:pt x="9788" y="8593"/>
                </a:lnTo>
                <a:close/>
                <a:moveTo>
                  <a:pt x="9550" y="8287"/>
                </a:moveTo>
                <a:lnTo>
                  <a:pt x="10195" y="5965"/>
                </a:lnTo>
                <a:cubicBezTo>
                  <a:pt x="10169" y="5954"/>
                  <a:pt x="10147" y="5935"/>
                  <a:pt x="10131" y="5912"/>
                </a:cubicBezTo>
                <a:lnTo>
                  <a:pt x="9282" y="6328"/>
                </a:lnTo>
                <a:cubicBezTo>
                  <a:pt x="9336" y="6417"/>
                  <a:pt x="9368" y="6521"/>
                  <a:pt x="9368" y="6632"/>
                </a:cubicBezTo>
                <a:cubicBezTo>
                  <a:pt x="9368" y="6794"/>
                  <a:pt x="9302" y="6940"/>
                  <a:pt x="9196" y="7046"/>
                </a:cubicBezTo>
                <a:cubicBezTo>
                  <a:pt x="9133" y="7109"/>
                  <a:pt x="9054" y="7158"/>
                  <a:pt x="8967" y="7187"/>
                </a:cubicBezTo>
                <a:lnTo>
                  <a:pt x="9285" y="8303"/>
                </a:lnTo>
                <a:cubicBezTo>
                  <a:pt x="9338" y="8288"/>
                  <a:pt x="9394" y="8279"/>
                  <a:pt x="9452" y="8279"/>
                </a:cubicBezTo>
                <a:cubicBezTo>
                  <a:pt x="9485" y="8279"/>
                  <a:pt x="9518" y="8282"/>
                  <a:pt x="9550" y="8287"/>
                </a:cubicBezTo>
                <a:close/>
                <a:moveTo>
                  <a:pt x="9251" y="8314"/>
                </a:moveTo>
                <a:lnTo>
                  <a:pt x="8933" y="7197"/>
                </a:lnTo>
                <a:cubicBezTo>
                  <a:pt x="8885" y="7210"/>
                  <a:pt x="8835" y="7217"/>
                  <a:pt x="8783" y="7217"/>
                </a:cubicBezTo>
                <a:cubicBezTo>
                  <a:pt x="8621" y="7217"/>
                  <a:pt x="8475" y="7151"/>
                  <a:pt x="8369" y="7046"/>
                </a:cubicBezTo>
                <a:cubicBezTo>
                  <a:pt x="8311" y="6988"/>
                  <a:pt x="8266" y="6918"/>
                  <a:pt x="8236" y="6841"/>
                </a:cubicBezTo>
                <a:lnTo>
                  <a:pt x="7569" y="7168"/>
                </a:lnTo>
                <a:cubicBezTo>
                  <a:pt x="7599" y="7239"/>
                  <a:pt x="7616" y="7317"/>
                  <a:pt x="7616" y="7398"/>
                </a:cubicBezTo>
                <a:cubicBezTo>
                  <a:pt x="7616" y="7560"/>
                  <a:pt x="7550" y="7706"/>
                  <a:pt x="7444" y="7812"/>
                </a:cubicBezTo>
                <a:cubicBezTo>
                  <a:pt x="7338" y="7918"/>
                  <a:pt x="7192" y="7983"/>
                  <a:pt x="7031" y="7983"/>
                </a:cubicBezTo>
                <a:cubicBezTo>
                  <a:pt x="7024" y="7983"/>
                  <a:pt x="7016" y="7983"/>
                  <a:pt x="7009" y="7983"/>
                </a:cubicBezTo>
                <a:lnTo>
                  <a:pt x="6930" y="8642"/>
                </a:lnTo>
                <a:lnTo>
                  <a:pt x="8874" y="8776"/>
                </a:lnTo>
                <a:cubicBezTo>
                  <a:pt x="8893" y="8650"/>
                  <a:pt x="8952" y="8537"/>
                  <a:pt x="9038" y="8450"/>
                </a:cubicBezTo>
                <a:cubicBezTo>
                  <a:pt x="9098" y="8391"/>
                  <a:pt x="9171" y="8344"/>
                  <a:pt x="9251" y="8314"/>
                </a:cubicBezTo>
                <a:close/>
                <a:moveTo>
                  <a:pt x="8869" y="8811"/>
                </a:moveTo>
                <a:lnTo>
                  <a:pt x="6926" y="8677"/>
                </a:lnTo>
                <a:lnTo>
                  <a:pt x="6847" y="9335"/>
                </a:lnTo>
                <a:lnTo>
                  <a:pt x="7395" y="9560"/>
                </a:lnTo>
                <a:cubicBezTo>
                  <a:pt x="7420" y="9516"/>
                  <a:pt x="7466" y="9487"/>
                  <a:pt x="7519" y="9487"/>
                </a:cubicBezTo>
                <a:cubicBezTo>
                  <a:pt x="7572" y="9487"/>
                  <a:pt x="7618" y="9516"/>
                  <a:pt x="7642" y="9558"/>
                </a:cubicBezTo>
                <a:lnTo>
                  <a:pt x="8892" y="9033"/>
                </a:lnTo>
                <a:cubicBezTo>
                  <a:pt x="8876" y="8979"/>
                  <a:pt x="8867" y="8923"/>
                  <a:pt x="8867" y="8864"/>
                </a:cubicBezTo>
                <a:cubicBezTo>
                  <a:pt x="8867" y="8846"/>
                  <a:pt x="8868" y="8828"/>
                  <a:pt x="8869" y="8811"/>
                </a:cubicBezTo>
                <a:close/>
                <a:moveTo>
                  <a:pt x="9816" y="8500"/>
                </a:moveTo>
                <a:cubicBezTo>
                  <a:pt x="9723" y="8407"/>
                  <a:pt x="9594" y="8350"/>
                  <a:pt x="9452" y="8350"/>
                </a:cubicBezTo>
                <a:cubicBezTo>
                  <a:pt x="9310" y="8350"/>
                  <a:pt x="9181" y="8407"/>
                  <a:pt x="9088" y="8500"/>
                </a:cubicBezTo>
                <a:cubicBezTo>
                  <a:pt x="8995" y="8593"/>
                  <a:pt x="8938" y="8722"/>
                  <a:pt x="8938" y="8864"/>
                </a:cubicBezTo>
                <a:cubicBezTo>
                  <a:pt x="8938" y="9006"/>
                  <a:pt x="8995" y="9135"/>
                  <a:pt x="9088" y="9228"/>
                </a:cubicBezTo>
                <a:cubicBezTo>
                  <a:pt x="9181" y="9321"/>
                  <a:pt x="9310" y="9378"/>
                  <a:pt x="9452" y="9378"/>
                </a:cubicBezTo>
                <a:cubicBezTo>
                  <a:pt x="9594" y="9378"/>
                  <a:pt x="9723" y="9321"/>
                  <a:pt x="9816" y="9228"/>
                </a:cubicBezTo>
                <a:cubicBezTo>
                  <a:pt x="9909" y="9135"/>
                  <a:pt x="9966" y="9006"/>
                  <a:pt x="9966" y="8864"/>
                </a:cubicBezTo>
                <a:cubicBezTo>
                  <a:pt x="9966" y="8722"/>
                  <a:pt x="9909" y="8593"/>
                  <a:pt x="9816" y="8500"/>
                </a:cubicBezTo>
                <a:close/>
                <a:moveTo>
                  <a:pt x="6201" y="9847"/>
                </a:moveTo>
                <a:cubicBezTo>
                  <a:pt x="6199" y="9859"/>
                  <a:pt x="6189" y="9868"/>
                  <a:pt x="6179" y="9867"/>
                </a:cubicBezTo>
                <a:lnTo>
                  <a:pt x="5959" y="9831"/>
                </a:lnTo>
                <a:cubicBezTo>
                  <a:pt x="5960" y="9837"/>
                  <a:pt x="5960" y="9843"/>
                  <a:pt x="5959" y="9849"/>
                </a:cubicBezTo>
                <a:cubicBezTo>
                  <a:pt x="5958" y="9859"/>
                  <a:pt x="5953" y="9869"/>
                  <a:pt x="5946" y="9877"/>
                </a:cubicBezTo>
                <a:cubicBezTo>
                  <a:pt x="5940" y="9886"/>
                  <a:pt x="5930" y="9892"/>
                  <a:pt x="5919" y="9896"/>
                </a:cubicBezTo>
                <a:lnTo>
                  <a:pt x="5919" y="9897"/>
                </a:lnTo>
                <a:cubicBezTo>
                  <a:pt x="5930" y="9904"/>
                  <a:pt x="5938" y="9913"/>
                  <a:pt x="5943" y="9923"/>
                </a:cubicBezTo>
                <a:cubicBezTo>
                  <a:pt x="5948" y="9932"/>
                  <a:pt x="5949" y="9944"/>
                  <a:pt x="5947" y="9957"/>
                </a:cubicBezTo>
                <a:cubicBezTo>
                  <a:pt x="5944" y="9976"/>
                  <a:pt x="5935" y="9990"/>
                  <a:pt x="5920" y="10001"/>
                </a:cubicBezTo>
                <a:cubicBezTo>
                  <a:pt x="5906" y="10011"/>
                  <a:pt x="5889" y="10015"/>
                  <a:pt x="5869" y="10011"/>
                </a:cubicBezTo>
                <a:cubicBezTo>
                  <a:pt x="5866" y="10011"/>
                  <a:pt x="5862" y="10010"/>
                  <a:pt x="5859" y="10009"/>
                </a:cubicBezTo>
                <a:lnTo>
                  <a:pt x="5639" y="10101"/>
                </a:lnTo>
                <a:cubicBezTo>
                  <a:pt x="5730" y="10183"/>
                  <a:pt x="5851" y="10232"/>
                  <a:pt x="5983" y="10232"/>
                </a:cubicBezTo>
                <a:cubicBezTo>
                  <a:pt x="6125" y="10232"/>
                  <a:pt x="6254" y="10175"/>
                  <a:pt x="6347" y="10082"/>
                </a:cubicBezTo>
                <a:cubicBezTo>
                  <a:pt x="6440" y="9989"/>
                  <a:pt x="6497" y="9860"/>
                  <a:pt x="6497" y="9718"/>
                </a:cubicBezTo>
                <a:cubicBezTo>
                  <a:pt x="6497" y="9576"/>
                  <a:pt x="6440" y="9447"/>
                  <a:pt x="6347" y="9354"/>
                </a:cubicBezTo>
                <a:cubicBezTo>
                  <a:pt x="6254" y="9261"/>
                  <a:pt x="6125" y="9204"/>
                  <a:pt x="5983" y="9204"/>
                </a:cubicBezTo>
                <a:cubicBezTo>
                  <a:pt x="5841" y="9204"/>
                  <a:pt x="5712" y="9261"/>
                  <a:pt x="5619" y="9354"/>
                </a:cubicBezTo>
                <a:cubicBezTo>
                  <a:pt x="5526" y="9447"/>
                  <a:pt x="5469" y="9576"/>
                  <a:pt x="5469" y="9718"/>
                </a:cubicBezTo>
                <a:cubicBezTo>
                  <a:pt x="5469" y="9847"/>
                  <a:pt x="5516" y="9965"/>
                  <a:pt x="5595" y="10056"/>
                </a:cubicBezTo>
                <a:lnTo>
                  <a:pt x="5812" y="9963"/>
                </a:lnTo>
                <a:cubicBezTo>
                  <a:pt x="5810" y="9955"/>
                  <a:pt x="5810" y="9946"/>
                  <a:pt x="5812" y="9936"/>
                </a:cubicBezTo>
                <a:cubicBezTo>
                  <a:pt x="5814" y="9924"/>
                  <a:pt x="5818" y="9913"/>
                  <a:pt x="5826" y="9904"/>
                </a:cubicBezTo>
                <a:cubicBezTo>
                  <a:pt x="5834" y="9896"/>
                  <a:pt x="5844" y="9889"/>
                  <a:pt x="5856" y="9885"/>
                </a:cubicBezTo>
                <a:lnTo>
                  <a:pt x="5856" y="9884"/>
                </a:lnTo>
                <a:cubicBezTo>
                  <a:pt x="5847" y="9876"/>
                  <a:pt x="5840" y="9868"/>
                  <a:pt x="5836" y="9860"/>
                </a:cubicBezTo>
                <a:cubicBezTo>
                  <a:pt x="5833" y="9852"/>
                  <a:pt x="5832" y="9843"/>
                  <a:pt x="5833" y="9831"/>
                </a:cubicBezTo>
                <a:cubicBezTo>
                  <a:pt x="5835" y="9824"/>
                  <a:pt x="5837" y="9818"/>
                  <a:pt x="5840" y="9812"/>
                </a:cubicBezTo>
                <a:lnTo>
                  <a:pt x="5619" y="9777"/>
                </a:lnTo>
                <a:cubicBezTo>
                  <a:pt x="5609" y="9776"/>
                  <a:pt x="5602" y="9764"/>
                  <a:pt x="5604" y="9751"/>
                </a:cubicBezTo>
                <a:lnTo>
                  <a:pt x="5646" y="9490"/>
                </a:lnTo>
                <a:cubicBezTo>
                  <a:pt x="5648" y="9477"/>
                  <a:pt x="5658" y="9468"/>
                  <a:pt x="5668" y="9470"/>
                </a:cubicBezTo>
                <a:lnTo>
                  <a:pt x="6228" y="9559"/>
                </a:lnTo>
                <a:cubicBezTo>
                  <a:pt x="6238" y="9561"/>
                  <a:pt x="6245" y="9572"/>
                  <a:pt x="6243" y="9585"/>
                </a:cubicBezTo>
                <a:lnTo>
                  <a:pt x="6201" y="9847"/>
                </a:lnTo>
                <a:close/>
                <a:moveTo>
                  <a:pt x="6292" y="9824"/>
                </a:moveTo>
                <a:cubicBezTo>
                  <a:pt x="6290" y="9833"/>
                  <a:pt x="6288" y="9840"/>
                  <a:pt x="6287" y="9840"/>
                </a:cubicBezTo>
                <a:lnTo>
                  <a:pt x="6218" y="9829"/>
                </a:lnTo>
                <a:cubicBezTo>
                  <a:pt x="6216" y="9829"/>
                  <a:pt x="6217" y="9821"/>
                  <a:pt x="6218" y="9812"/>
                </a:cubicBezTo>
                <a:lnTo>
                  <a:pt x="6248" y="9623"/>
                </a:lnTo>
                <a:cubicBezTo>
                  <a:pt x="6250" y="9614"/>
                  <a:pt x="6252" y="9607"/>
                  <a:pt x="6253" y="9607"/>
                </a:cubicBezTo>
                <a:lnTo>
                  <a:pt x="6322" y="9618"/>
                </a:lnTo>
                <a:cubicBezTo>
                  <a:pt x="6323" y="9618"/>
                  <a:pt x="6323" y="9626"/>
                  <a:pt x="6322" y="9635"/>
                </a:cubicBezTo>
                <a:lnTo>
                  <a:pt x="6292" y="9824"/>
                </a:lnTo>
                <a:close/>
                <a:moveTo>
                  <a:pt x="6356" y="9819"/>
                </a:moveTo>
                <a:cubicBezTo>
                  <a:pt x="6355" y="9826"/>
                  <a:pt x="6354" y="9832"/>
                  <a:pt x="6353" y="9832"/>
                </a:cubicBezTo>
                <a:lnTo>
                  <a:pt x="6316" y="9826"/>
                </a:lnTo>
                <a:cubicBezTo>
                  <a:pt x="6315" y="9826"/>
                  <a:pt x="6315" y="9820"/>
                  <a:pt x="6317" y="9812"/>
                </a:cubicBezTo>
                <a:lnTo>
                  <a:pt x="6341" y="9657"/>
                </a:lnTo>
                <a:cubicBezTo>
                  <a:pt x="6342" y="9650"/>
                  <a:pt x="6344" y="9644"/>
                  <a:pt x="6345" y="9644"/>
                </a:cubicBezTo>
                <a:lnTo>
                  <a:pt x="6382" y="9650"/>
                </a:lnTo>
                <a:cubicBezTo>
                  <a:pt x="6383" y="9650"/>
                  <a:pt x="6382" y="9656"/>
                  <a:pt x="6381" y="9664"/>
                </a:cubicBezTo>
                <a:lnTo>
                  <a:pt x="6356" y="9819"/>
                </a:lnTo>
                <a:close/>
                <a:moveTo>
                  <a:pt x="6474" y="10036"/>
                </a:moveTo>
                <a:lnTo>
                  <a:pt x="6711" y="10172"/>
                </a:lnTo>
                <a:lnTo>
                  <a:pt x="6765" y="9716"/>
                </a:lnTo>
                <a:lnTo>
                  <a:pt x="6568" y="9734"/>
                </a:lnTo>
                <a:cubicBezTo>
                  <a:pt x="6565" y="9845"/>
                  <a:pt x="6531" y="9949"/>
                  <a:pt x="6474" y="10036"/>
                </a:cubicBezTo>
                <a:close/>
                <a:moveTo>
                  <a:pt x="6568" y="9699"/>
                </a:moveTo>
                <a:lnTo>
                  <a:pt x="6770" y="9680"/>
                </a:lnTo>
                <a:lnTo>
                  <a:pt x="6808" y="9357"/>
                </a:lnTo>
                <a:lnTo>
                  <a:pt x="4912" y="8581"/>
                </a:lnTo>
                <a:cubicBezTo>
                  <a:pt x="4908" y="8589"/>
                  <a:pt x="4903" y="8596"/>
                  <a:pt x="4898" y="8602"/>
                </a:cubicBezTo>
                <a:lnTo>
                  <a:pt x="5565" y="9309"/>
                </a:lnTo>
                <a:cubicBezTo>
                  <a:pt x="5566" y="9308"/>
                  <a:pt x="5568" y="9306"/>
                  <a:pt x="5569" y="9304"/>
                </a:cubicBezTo>
                <a:cubicBezTo>
                  <a:pt x="5675" y="9199"/>
                  <a:pt x="5821" y="9133"/>
                  <a:pt x="5983" y="9133"/>
                </a:cubicBezTo>
                <a:cubicBezTo>
                  <a:pt x="6144" y="9133"/>
                  <a:pt x="6291" y="9199"/>
                  <a:pt x="6397" y="9304"/>
                </a:cubicBezTo>
                <a:cubicBezTo>
                  <a:pt x="6498" y="9406"/>
                  <a:pt x="6563" y="9545"/>
                  <a:pt x="6568" y="9699"/>
                </a:cubicBezTo>
                <a:close/>
                <a:moveTo>
                  <a:pt x="4877" y="6938"/>
                </a:moveTo>
                <a:lnTo>
                  <a:pt x="4877" y="6896"/>
                </a:lnTo>
                <a:cubicBezTo>
                  <a:pt x="4877" y="6866"/>
                  <a:pt x="4850" y="6841"/>
                  <a:pt x="4817" y="6841"/>
                </a:cubicBezTo>
                <a:lnTo>
                  <a:pt x="4817" y="6841"/>
                </a:lnTo>
                <a:cubicBezTo>
                  <a:pt x="4784" y="6841"/>
                  <a:pt x="4756" y="6866"/>
                  <a:pt x="4756" y="6896"/>
                </a:cubicBezTo>
                <a:lnTo>
                  <a:pt x="4756" y="6938"/>
                </a:lnTo>
                <a:lnTo>
                  <a:pt x="4877" y="6938"/>
                </a:lnTo>
                <a:close/>
                <a:moveTo>
                  <a:pt x="4743" y="6837"/>
                </a:moveTo>
                <a:cubicBezTo>
                  <a:pt x="4757" y="6824"/>
                  <a:pt x="4780" y="6815"/>
                  <a:pt x="4804" y="6815"/>
                </a:cubicBezTo>
                <a:lnTo>
                  <a:pt x="4830" y="6815"/>
                </a:lnTo>
                <a:cubicBezTo>
                  <a:pt x="4874" y="6815"/>
                  <a:pt x="4910" y="6843"/>
                  <a:pt x="4910" y="6877"/>
                </a:cubicBezTo>
                <a:lnTo>
                  <a:pt x="4910" y="6939"/>
                </a:lnTo>
                <a:cubicBezTo>
                  <a:pt x="4921" y="6941"/>
                  <a:pt x="4929" y="6951"/>
                  <a:pt x="4929" y="6963"/>
                </a:cubicBezTo>
                <a:lnTo>
                  <a:pt x="4929" y="7085"/>
                </a:lnTo>
                <a:cubicBezTo>
                  <a:pt x="4929" y="7099"/>
                  <a:pt x="4918" y="7110"/>
                  <a:pt x="4904" y="7110"/>
                </a:cubicBezTo>
                <a:lnTo>
                  <a:pt x="4731" y="7110"/>
                </a:lnTo>
                <a:cubicBezTo>
                  <a:pt x="4718" y="7110"/>
                  <a:pt x="4707" y="7099"/>
                  <a:pt x="4707" y="7085"/>
                </a:cubicBezTo>
                <a:lnTo>
                  <a:pt x="4707" y="7050"/>
                </a:lnTo>
                <a:lnTo>
                  <a:pt x="4614" y="7050"/>
                </a:lnTo>
                <a:lnTo>
                  <a:pt x="4614" y="6874"/>
                </a:lnTo>
                <a:lnTo>
                  <a:pt x="4471" y="6874"/>
                </a:lnTo>
                <a:lnTo>
                  <a:pt x="4471" y="7050"/>
                </a:lnTo>
                <a:lnTo>
                  <a:pt x="4342" y="7050"/>
                </a:lnTo>
                <a:lnTo>
                  <a:pt x="4342" y="6747"/>
                </a:lnTo>
                <a:lnTo>
                  <a:pt x="4542" y="6594"/>
                </a:lnTo>
                <a:lnTo>
                  <a:pt x="4743" y="6747"/>
                </a:lnTo>
                <a:lnTo>
                  <a:pt x="4743" y="6837"/>
                </a:lnTo>
                <a:close/>
                <a:moveTo>
                  <a:pt x="4845" y="7006"/>
                </a:moveTo>
                <a:cubicBezTo>
                  <a:pt x="4845" y="6991"/>
                  <a:pt x="4833" y="6979"/>
                  <a:pt x="4818" y="6979"/>
                </a:cubicBezTo>
                <a:cubicBezTo>
                  <a:pt x="4803" y="6979"/>
                  <a:pt x="4791" y="6991"/>
                  <a:pt x="4791" y="7006"/>
                </a:cubicBezTo>
                <a:cubicBezTo>
                  <a:pt x="4791" y="7018"/>
                  <a:pt x="4798" y="7026"/>
                  <a:pt x="4808" y="7030"/>
                </a:cubicBezTo>
                <a:lnTo>
                  <a:pt x="4809" y="7062"/>
                </a:lnTo>
                <a:cubicBezTo>
                  <a:pt x="4809" y="7066"/>
                  <a:pt x="4812" y="7069"/>
                  <a:pt x="4816" y="7069"/>
                </a:cubicBezTo>
                <a:lnTo>
                  <a:pt x="4825" y="7069"/>
                </a:lnTo>
                <a:cubicBezTo>
                  <a:pt x="4828" y="7069"/>
                  <a:pt x="4827" y="7046"/>
                  <a:pt x="4827" y="7042"/>
                </a:cubicBezTo>
                <a:cubicBezTo>
                  <a:pt x="4827" y="7042"/>
                  <a:pt x="4826" y="7029"/>
                  <a:pt x="4830" y="7029"/>
                </a:cubicBezTo>
                <a:cubicBezTo>
                  <a:pt x="4842" y="7029"/>
                  <a:pt x="4845" y="7006"/>
                  <a:pt x="4845" y="7006"/>
                </a:cubicBezTo>
                <a:close/>
                <a:moveTo>
                  <a:pt x="4278" y="6754"/>
                </a:moveTo>
                <a:lnTo>
                  <a:pt x="4206" y="6665"/>
                </a:lnTo>
                <a:lnTo>
                  <a:pt x="4542" y="6408"/>
                </a:lnTo>
                <a:lnTo>
                  <a:pt x="4643" y="6486"/>
                </a:lnTo>
                <a:lnTo>
                  <a:pt x="4643" y="6452"/>
                </a:lnTo>
                <a:lnTo>
                  <a:pt x="4769" y="6452"/>
                </a:lnTo>
                <a:lnTo>
                  <a:pt x="4769" y="6581"/>
                </a:lnTo>
                <a:lnTo>
                  <a:pt x="4878" y="6665"/>
                </a:lnTo>
                <a:lnTo>
                  <a:pt x="4809" y="6753"/>
                </a:lnTo>
                <a:lnTo>
                  <a:pt x="4542" y="6548"/>
                </a:lnTo>
                <a:lnTo>
                  <a:pt x="4278" y="6754"/>
                </a:lnTo>
                <a:close/>
                <a:moveTo>
                  <a:pt x="4645" y="7339"/>
                </a:moveTo>
                <a:lnTo>
                  <a:pt x="4786" y="8370"/>
                </a:lnTo>
                <a:cubicBezTo>
                  <a:pt x="4787" y="8370"/>
                  <a:pt x="4788" y="8370"/>
                  <a:pt x="4788" y="8370"/>
                </a:cubicBezTo>
                <a:cubicBezTo>
                  <a:pt x="4838" y="8370"/>
                  <a:pt x="4882" y="8396"/>
                  <a:pt x="4907" y="8434"/>
                </a:cubicBezTo>
                <a:lnTo>
                  <a:pt x="6503" y="7652"/>
                </a:lnTo>
                <a:cubicBezTo>
                  <a:pt x="6466" y="7575"/>
                  <a:pt x="6446" y="7489"/>
                  <a:pt x="6446" y="7398"/>
                </a:cubicBezTo>
                <a:cubicBezTo>
                  <a:pt x="6446" y="7245"/>
                  <a:pt x="6505" y="7104"/>
                  <a:pt x="6603" y="7000"/>
                </a:cubicBezTo>
                <a:lnTo>
                  <a:pt x="6578" y="6975"/>
                </a:lnTo>
                <a:cubicBezTo>
                  <a:pt x="6554" y="6994"/>
                  <a:pt x="6523" y="7005"/>
                  <a:pt x="6491" y="7005"/>
                </a:cubicBezTo>
                <a:cubicBezTo>
                  <a:pt x="6417" y="7005"/>
                  <a:pt x="6357" y="6950"/>
                  <a:pt x="6349" y="6878"/>
                </a:cubicBezTo>
                <a:lnTo>
                  <a:pt x="5144" y="6856"/>
                </a:lnTo>
                <a:cubicBezTo>
                  <a:pt x="5124" y="6979"/>
                  <a:pt x="5065" y="7088"/>
                  <a:pt x="4981" y="7173"/>
                </a:cubicBezTo>
                <a:cubicBezTo>
                  <a:pt x="4893" y="7261"/>
                  <a:pt x="4776" y="7321"/>
                  <a:pt x="4645" y="7339"/>
                </a:cubicBezTo>
                <a:close/>
                <a:moveTo>
                  <a:pt x="5149" y="6821"/>
                </a:moveTo>
                <a:lnTo>
                  <a:pt x="6350" y="6843"/>
                </a:lnTo>
                <a:cubicBezTo>
                  <a:pt x="6360" y="6774"/>
                  <a:pt x="6419" y="6722"/>
                  <a:pt x="6491" y="6722"/>
                </a:cubicBezTo>
                <a:cubicBezTo>
                  <a:pt x="6524" y="6722"/>
                  <a:pt x="6555" y="6733"/>
                  <a:pt x="6580" y="6753"/>
                </a:cubicBezTo>
                <a:lnTo>
                  <a:pt x="7290" y="6069"/>
                </a:lnTo>
                <a:lnTo>
                  <a:pt x="5147" y="6678"/>
                </a:lnTo>
                <a:cubicBezTo>
                  <a:pt x="5150" y="6705"/>
                  <a:pt x="5152" y="6732"/>
                  <a:pt x="5152" y="6759"/>
                </a:cubicBezTo>
                <a:cubicBezTo>
                  <a:pt x="5152" y="6780"/>
                  <a:pt x="5151" y="6800"/>
                  <a:pt x="5149" y="6821"/>
                </a:cubicBezTo>
                <a:close/>
                <a:moveTo>
                  <a:pt x="5141" y="6643"/>
                </a:moveTo>
                <a:lnTo>
                  <a:pt x="7344" y="6017"/>
                </a:lnTo>
                <a:lnTo>
                  <a:pt x="7992" y="5394"/>
                </a:lnTo>
                <a:cubicBezTo>
                  <a:pt x="7971" y="5378"/>
                  <a:pt x="7951" y="5360"/>
                  <a:pt x="7933" y="5342"/>
                </a:cubicBezTo>
                <a:cubicBezTo>
                  <a:pt x="7919" y="5328"/>
                  <a:pt x="7906" y="5314"/>
                  <a:pt x="7894" y="5299"/>
                </a:cubicBezTo>
                <a:lnTo>
                  <a:pt x="5125" y="6583"/>
                </a:lnTo>
                <a:cubicBezTo>
                  <a:pt x="5132" y="6603"/>
                  <a:pt x="5137" y="6623"/>
                  <a:pt x="5141" y="6643"/>
                </a:cubicBezTo>
                <a:close/>
                <a:moveTo>
                  <a:pt x="5114" y="6550"/>
                </a:moveTo>
                <a:lnTo>
                  <a:pt x="7872" y="5271"/>
                </a:lnTo>
                <a:cubicBezTo>
                  <a:pt x="7802" y="5175"/>
                  <a:pt x="7761" y="5056"/>
                  <a:pt x="7761" y="4928"/>
                </a:cubicBezTo>
                <a:cubicBezTo>
                  <a:pt x="7761" y="4767"/>
                  <a:pt x="7827" y="4621"/>
                  <a:pt x="7933" y="4515"/>
                </a:cubicBezTo>
                <a:cubicBezTo>
                  <a:pt x="7966" y="4481"/>
                  <a:pt x="8004" y="4452"/>
                  <a:pt x="8044" y="4428"/>
                </a:cubicBezTo>
                <a:lnTo>
                  <a:pt x="7844" y="3996"/>
                </a:lnTo>
                <a:cubicBezTo>
                  <a:pt x="7780" y="4020"/>
                  <a:pt x="7711" y="4033"/>
                  <a:pt x="7638" y="4033"/>
                </a:cubicBezTo>
                <a:cubicBezTo>
                  <a:pt x="7477" y="4033"/>
                  <a:pt x="7331" y="3968"/>
                  <a:pt x="7225" y="3862"/>
                </a:cubicBezTo>
                <a:cubicBezTo>
                  <a:pt x="7172" y="3809"/>
                  <a:pt x="7130" y="3747"/>
                  <a:pt x="7100" y="3678"/>
                </a:cubicBezTo>
                <a:lnTo>
                  <a:pt x="5989" y="4111"/>
                </a:lnTo>
                <a:lnTo>
                  <a:pt x="4872" y="6260"/>
                </a:lnTo>
                <a:cubicBezTo>
                  <a:pt x="4912" y="6284"/>
                  <a:pt x="4948" y="6313"/>
                  <a:pt x="4981" y="6345"/>
                </a:cubicBezTo>
                <a:cubicBezTo>
                  <a:pt x="5039" y="6403"/>
                  <a:pt x="5084" y="6472"/>
                  <a:pt x="5114" y="6550"/>
                </a:cubicBezTo>
                <a:close/>
                <a:moveTo>
                  <a:pt x="4842" y="6242"/>
                </a:moveTo>
                <a:lnTo>
                  <a:pt x="5939" y="4130"/>
                </a:lnTo>
                <a:lnTo>
                  <a:pt x="5548" y="4282"/>
                </a:lnTo>
                <a:cubicBezTo>
                  <a:pt x="5553" y="4312"/>
                  <a:pt x="5555" y="4342"/>
                  <a:pt x="5555" y="4373"/>
                </a:cubicBezTo>
                <a:cubicBezTo>
                  <a:pt x="5555" y="4535"/>
                  <a:pt x="5490" y="4681"/>
                  <a:pt x="5384" y="4787"/>
                </a:cubicBezTo>
                <a:cubicBezTo>
                  <a:pt x="5278" y="4893"/>
                  <a:pt x="5132" y="4958"/>
                  <a:pt x="4971" y="4958"/>
                </a:cubicBezTo>
                <a:cubicBezTo>
                  <a:pt x="4945" y="4958"/>
                  <a:pt x="4921" y="4957"/>
                  <a:pt x="4896" y="4953"/>
                </a:cubicBezTo>
                <a:lnTo>
                  <a:pt x="4685" y="6186"/>
                </a:lnTo>
                <a:cubicBezTo>
                  <a:pt x="4741" y="6197"/>
                  <a:pt x="4793" y="6216"/>
                  <a:pt x="4842" y="6242"/>
                </a:cubicBezTo>
                <a:close/>
                <a:moveTo>
                  <a:pt x="4651" y="6180"/>
                </a:moveTo>
                <a:lnTo>
                  <a:pt x="4861" y="4948"/>
                </a:lnTo>
                <a:cubicBezTo>
                  <a:pt x="4744" y="4926"/>
                  <a:pt x="4638" y="4868"/>
                  <a:pt x="4557" y="4787"/>
                </a:cubicBezTo>
                <a:cubicBezTo>
                  <a:pt x="4451" y="4681"/>
                  <a:pt x="4386" y="4535"/>
                  <a:pt x="4386" y="4373"/>
                </a:cubicBezTo>
                <a:cubicBezTo>
                  <a:pt x="4386" y="4308"/>
                  <a:pt x="4396" y="4244"/>
                  <a:pt x="4416" y="4186"/>
                </a:cubicBezTo>
                <a:lnTo>
                  <a:pt x="3806" y="3814"/>
                </a:lnTo>
                <a:cubicBezTo>
                  <a:pt x="3784" y="3847"/>
                  <a:pt x="3759" y="3877"/>
                  <a:pt x="3732" y="3905"/>
                </a:cubicBezTo>
                <a:cubicBezTo>
                  <a:pt x="3626" y="4011"/>
                  <a:pt x="3480" y="4076"/>
                  <a:pt x="3318" y="4076"/>
                </a:cubicBezTo>
                <a:cubicBezTo>
                  <a:pt x="3195" y="4076"/>
                  <a:pt x="3081" y="4038"/>
                  <a:pt x="2987" y="3974"/>
                </a:cubicBezTo>
                <a:lnTo>
                  <a:pt x="2476" y="4938"/>
                </a:lnTo>
                <a:cubicBezTo>
                  <a:pt x="2512" y="4963"/>
                  <a:pt x="2536" y="5006"/>
                  <a:pt x="2536" y="5054"/>
                </a:cubicBezTo>
                <a:cubicBezTo>
                  <a:pt x="2536" y="5082"/>
                  <a:pt x="2528" y="5108"/>
                  <a:pt x="2514" y="5130"/>
                </a:cubicBezTo>
                <a:cubicBezTo>
                  <a:pt x="3039" y="5560"/>
                  <a:pt x="3565" y="5991"/>
                  <a:pt x="4090" y="6421"/>
                </a:cubicBezTo>
                <a:cubicBezTo>
                  <a:pt x="4109" y="6394"/>
                  <a:pt x="4130" y="6369"/>
                  <a:pt x="4154" y="6345"/>
                </a:cubicBezTo>
                <a:cubicBezTo>
                  <a:pt x="4260" y="6240"/>
                  <a:pt x="4406" y="6174"/>
                  <a:pt x="4567" y="6174"/>
                </a:cubicBezTo>
                <a:cubicBezTo>
                  <a:pt x="4596" y="6174"/>
                  <a:pt x="4623" y="6176"/>
                  <a:pt x="4651" y="6180"/>
                </a:cubicBezTo>
                <a:close/>
                <a:moveTo>
                  <a:pt x="4931" y="6395"/>
                </a:moveTo>
                <a:cubicBezTo>
                  <a:pt x="4838" y="6302"/>
                  <a:pt x="4710" y="6245"/>
                  <a:pt x="4567" y="6245"/>
                </a:cubicBezTo>
                <a:cubicBezTo>
                  <a:pt x="4425" y="6245"/>
                  <a:pt x="4297" y="6302"/>
                  <a:pt x="4204" y="6395"/>
                </a:cubicBezTo>
                <a:cubicBezTo>
                  <a:pt x="4111" y="6488"/>
                  <a:pt x="4053" y="6617"/>
                  <a:pt x="4053" y="6759"/>
                </a:cubicBezTo>
                <a:cubicBezTo>
                  <a:pt x="4053" y="6901"/>
                  <a:pt x="4111" y="7030"/>
                  <a:pt x="4204" y="7123"/>
                </a:cubicBezTo>
                <a:cubicBezTo>
                  <a:pt x="4297" y="7216"/>
                  <a:pt x="4425" y="7273"/>
                  <a:pt x="4567" y="7273"/>
                </a:cubicBezTo>
                <a:cubicBezTo>
                  <a:pt x="4710" y="7273"/>
                  <a:pt x="4838" y="7216"/>
                  <a:pt x="4931" y="7123"/>
                </a:cubicBezTo>
                <a:cubicBezTo>
                  <a:pt x="5024" y="7030"/>
                  <a:pt x="5082" y="6901"/>
                  <a:pt x="5082" y="6759"/>
                </a:cubicBezTo>
                <a:cubicBezTo>
                  <a:pt x="5082" y="6617"/>
                  <a:pt x="5024" y="6488"/>
                  <a:pt x="4931" y="6395"/>
                </a:cubicBezTo>
                <a:close/>
                <a:moveTo>
                  <a:pt x="7217" y="7538"/>
                </a:moveTo>
                <a:cubicBezTo>
                  <a:pt x="7217" y="7538"/>
                  <a:pt x="7122" y="7670"/>
                  <a:pt x="7044" y="7715"/>
                </a:cubicBezTo>
                <a:lnTo>
                  <a:pt x="7044" y="7378"/>
                </a:lnTo>
                <a:lnTo>
                  <a:pt x="7292" y="7378"/>
                </a:lnTo>
                <a:cubicBezTo>
                  <a:pt x="7277" y="7430"/>
                  <a:pt x="7254" y="7486"/>
                  <a:pt x="7217" y="7538"/>
                </a:cubicBezTo>
                <a:close/>
                <a:moveTo>
                  <a:pt x="7037" y="7720"/>
                </a:moveTo>
                <a:cubicBezTo>
                  <a:pt x="7035" y="7721"/>
                  <a:pt x="7033" y="7722"/>
                  <a:pt x="7031" y="7722"/>
                </a:cubicBezTo>
                <a:lnTo>
                  <a:pt x="7031" y="7722"/>
                </a:lnTo>
                <a:cubicBezTo>
                  <a:pt x="7000" y="7708"/>
                  <a:pt x="6966" y="7678"/>
                  <a:pt x="6935" y="7646"/>
                </a:cubicBezTo>
                <a:cubicBezTo>
                  <a:pt x="6963" y="7674"/>
                  <a:pt x="6998" y="7702"/>
                  <a:pt x="7037" y="7720"/>
                </a:cubicBezTo>
                <a:close/>
                <a:moveTo>
                  <a:pt x="6893" y="7599"/>
                </a:moveTo>
                <a:cubicBezTo>
                  <a:pt x="6864" y="7565"/>
                  <a:pt x="6845" y="7537"/>
                  <a:pt x="6845" y="7537"/>
                </a:cubicBezTo>
                <a:cubicBezTo>
                  <a:pt x="6824" y="7508"/>
                  <a:pt x="6807" y="7477"/>
                  <a:pt x="6793" y="7445"/>
                </a:cubicBezTo>
                <a:cubicBezTo>
                  <a:pt x="6811" y="7484"/>
                  <a:pt x="6835" y="7520"/>
                  <a:pt x="6863" y="7558"/>
                </a:cubicBezTo>
                <a:cubicBezTo>
                  <a:pt x="6863" y="7558"/>
                  <a:pt x="6874" y="7575"/>
                  <a:pt x="6893" y="7599"/>
                </a:cubicBezTo>
                <a:close/>
                <a:moveTo>
                  <a:pt x="6773" y="7390"/>
                </a:moveTo>
                <a:cubicBezTo>
                  <a:pt x="6737" y="7277"/>
                  <a:pt x="6743" y="7180"/>
                  <a:pt x="6743" y="7180"/>
                </a:cubicBezTo>
                <a:cubicBezTo>
                  <a:pt x="6952" y="7189"/>
                  <a:pt x="7031" y="7075"/>
                  <a:pt x="7031" y="7075"/>
                </a:cubicBezTo>
                <a:lnTo>
                  <a:pt x="7031" y="7075"/>
                </a:lnTo>
                <a:cubicBezTo>
                  <a:pt x="7031" y="7075"/>
                  <a:pt x="7035" y="7081"/>
                  <a:pt x="7044" y="7091"/>
                </a:cubicBezTo>
                <a:lnTo>
                  <a:pt x="7044" y="7378"/>
                </a:lnTo>
                <a:lnTo>
                  <a:pt x="6770" y="7378"/>
                </a:lnTo>
                <a:cubicBezTo>
                  <a:pt x="6771" y="7382"/>
                  <a:pt x="6772" y="7386"/>
                  <a:pt x="6773" y="7390"/>
                </a:cubicBezTo>
                <a:close/>
                <a:moveTo>
                  <a:pt x="7358" y="7150"/>
                </a:moveTo>
                <a:cubicBezTo>
                  <a:pt x="7121" y="7161"/>
                  <a:pt x="7031" y="7030"/>
                  <a:pt x="7031" y="7030"/>
                </a:cubicBezTo>
                <a:lnTo>
                  <a:pt x="7031" y="7030"/>
                </a:lnTo>
                <a:cubicBezTo>
                  <a:pt x="7031" y="7030"/>
                  <a:pt x="6941" y="7161"/>
                  <a:pt x="6704" y="7150"/>
                </a:cubicBezTo>
                <a:cubicBezTo>
                  <a:pt x="6704" y="7150"/>
                  <a:pt x="6690" y="7377"/>
                  <a:pt x="6819" y="7557"/>
                </a:cubicBezTo>
                <a:cubicBezTo>
                  <a:pt x="6819" y="7557"/>
                  <a:pt x="6940" y="7726"/>
                  <a:pt x="7031" y="7767"/>
                </a:cubicBezTo>
                <a:lnTo>
                  <a:pt x="7031" y="7767"/>
                </a:lnTo>
                <a:cubicBezTo>
                  <a:pt x="7122" y="7726"/>
                  <a:pt x="7242" y="7557"/>
                  <a:pt x="7242" y="7557"/>
                </a:cubicBezTo>
                <a:cubicBezTo>
                  <a:pt x="7372" y="7377"/>
                  <a:pt x="7358" y="7150"/>
                  <a:pt x="7358" y="7150"/>
                </a:cubicBezTo>
                <a:close/>
                <a:moveTo>
                  <a:pt x="7031" y="6814"/>
                </a:moveTo>
                <a:cubicBezTo>
                  <a:pt x="7192" y="6814"/>
                  <a:pt x="7338" y="6879"/>
                  <a:pt x="7444" y="6985"/>
                </a:cubicBezTo>
                <a:cubicBezTo>
                  <a:pt x="7488" y="7029"/>
                  <a:pt x="7526" y="7080"/>
                  <a:pt x="7554" y="7136"/>
                </a:cubicBezTo>
                <a:lnTo>
                  <a:pt x="8225" y="6808"/>
                </a:lnTo>
                <a:cubicBezTo>
                  <a:pt x="8207" y="6752"/>
                  <a:pt x="8198" y="6693"/>
                  <a:pt x="8198" y="6632"/>
                </a:cubicBezTo>
                <a:cubicBezTo>
                  <a:pt x="8198" y="6471"/>
                  <a:pt x="8263" y="6324"/>
                  <a:pt x="8369" y="6218"/>
                </a:cubicBezTo>
                <a:cubicBezTo>
                  <a:pt x="8436" y="6151"/>
                  <a:pt x="8520" y="6100"/>
                  <a:pt x="8613" y="6072"/>
                </a:cubicBezTo>
                <a:lnTo>
                  <a:pt x="8513" y="5721"/>
                </a:lnTo>
                <a:lnTo>
                  <a:pt x="7362" y="6049"/>
                </a:lnTo>
                <a:cubicBezTo>
                  <a:pt x="7109" y="6292"/>
                  <a:pt x="6857" y="6535"/>
                  <a:pt x="6604" y="6778"/>
                </a:cubicBezTo>
                <a:cubicBezTo>
                  <a:pt x="6622" y="6802"/>
                  <a:pt x="6632" y="6831"/>
                  <a:pt x="6632" y="6863"/>
                </a:cubicBezTo>
                <a:cubicBezTo>
                  <a:pt x="6632" y="6896"/>
                  <a:pt x="6621" y="6926"/>
                  <a:pt x="6603" y="6950"/>
                </a:cubicBezTo>
                <a:lnTo>
                  <a:pt x="6627" y="6975"/>
                </a:lnTo>
                <a:cubicBezTo>
                  <a:pt x="6732" y="6875"/>
                  <a:pt x="6874" y="6814"/>
                  <a:pt x="7031" y="6814"/>
                </a:cubicBezTo>
                <a:close/>
                <a:moveTo>
                  <a:pt x="6974" y="7981"/>
                </a:moveTo>
                <a:cubicBezTo>
                  <a:pt x="6835" y="7967"/>
                  <a:pt x="6710" y="7905"/>
                  <a:pt x="6617" y="7812"/>
                </a:cubicBezTo>
                <a:cubicBezTo>
                  <a:pt x="6579" y="7774"/>
                  <a:pt x="6546" y="7730"/>
                  <a:pt x="6519" y="7683"/>
                </a:cubicBezTo>
                <a:lnTo>
                  <a:pt x="4922" y="8466"/>
                </a:lnTo>
                <a:cubicBezTo>
                  <a:pt x="4926" y="8478"/>
                  <a:pt x="4929" y="8491"/>
                  <a:pt x="4930" y="8504"/>
                </a:cubicBezTo>
                <a:lnTo>
                  <a:pt x="6895" y="8640"/>
                </a:lnTo>
                <a:lnTo>
                  <a:pt x="6974" y="7981"/>
                </a:lnTo>
                <a:close/>
                <a:moveTo>
                  <a:pt x="7394" y="7035"/>
                </a:moveTo>
                <a:cubicBezTo>
                  <a:pt x="7301" y="6942"/>
                  <a:pt x="7173" y="6884"/>
                  <a:pt x="7031" y="6884"/>
                </a:cubicBezTo>
                <a:cubicBezTo>
                  <a:pt x="6889" y="6884"/>
                  <a:pt x="6760" y="6942"/>
                  <a:pt x="6667" y="7035"/>
                </a:cubicBezTo>
                <a:cubicBezTo>
                  <a:pt x="6574" y="7128"/>
                  <a:pt x="6516" y="7256"/>
                  <a:pt x="6516" y="7398"/>
                </a:cubicBezTo>
                <a:cubicBezTo>
                  <a:pt x="6516" y="7541"/>
                  <a:pt x="6574" y="7669"/>
                  <a:pt x="6667" y="7762"/>
                </a:cubicBezTo>
                <a:cubicBezTo>
                  <a:pt x="6760" y="7855"/>
                  <a:pt x="6889" y="7913"/>
                  <a:pt x="7031" y="7913"/>
                </a:cubicBezTo>
                <a:cubicBezTo>
                  <a:pt x="7173" y="7913"/>
                  <a:pt x="7301" y="7855"/>
                  <a:pt x="7394" y="7762"/>
                </a:cubicBezTo>
                <a:cubicBezTo>
                  <a:pt x="7488" y="7669"/>
                  <a:pt x="7545" y="7541"/>
                  <a:pt x="7545" y="7398"/>
                </a:cubicBezTo>
                <a:cubicBezTo>
                  <a:pt x="7545" y="7256"/>
                  <a:pt x="7488" y="7128"/>
                  <a:pt x="7394" y="7035"/>
                </a:cubicBezTo>
                <a:close/>
                <a:moveTo>
                  <a:pt x="9107" y="6418"/>
                </a:moveTo>
                <a:lnTo>
                  <a:pt x="9107" y="6373"/>
                </a:lnTo>
                <a:cubicBezTo>
                  <a:pt x="9106" y="6315"/>
                  <a:pt x="9059" y="6268"/>
                  <a:pt x="9002" y="6269"/>
                </a:cubicBezTo>
                <a:lnTo>
                  <a:pt x="8559" y="6271"/>
                </a:lnTo>
                <a:cubicBezTo>
                  <a:pt x="8502" y="6272"/>
                  <a:pt x="8455" y="6319"/>
                  <a:pt x="8455" y="6377"/>
                </a:cubicBezTo>
                <a:lnTo>
                  <a:pt x="8456" y="6422"/>
                </a:lnTo>
                <a:lnTo>
                  <a:pt x="9107" y="6418"/>
                </a:lnTo>
                <a:close/>
                <a:moveTo>
                  <a:pt x="8856" y="6545"/>
                </a:moveTo>
                <a:cubicBezTo>
                  <a:pt x="8844" y="6540"/>
                  <a:pt x="8831" y="6536"/>
                  <a:pt x="8817" y="6534"/>
                </a:cubicBezTo>
                <a:cubicBezTo>
                  <a:pt x="8806" y="6532"/>
                  <a:pt x="8795" y="6531"/>
                  <a:pt x="8783" y="6531"/>
                </a:cubicBezTo>
                <a:cubicBezTo>
                  <a:pt x="8772" y="6531"/>
                  <a:pt x="8761" y="6532"/>
                  <a:pt x="8750" y="6534"/>
                </a:cubicBezTo>
                <a:cubicBezTo>
                  <a:pt x="8736" y="6537"/>
                  <a:pt x="8723" y="6540"/>
                  <a:pt x="8711" y="6546"/>
                </a:cubicBezTo>
                <a:cubicBezTo>
                  <a:pt x="8646" y="6574"/>
                  <a:pt x="8600" y="6638"/>
                  <a:pt x="8600" y="6713"/>
                </a:cubicBezTo>
                <a:cubicBezTo>
                  <a:pt x="8601" y="6813"/>
                  <a:pt x="8684" y="6894"/>
                  <a:pt x="8786" y="6893"/>
                </a:cubicBezTo>
                <a:cubicBezTo>
                  <a:pt x="8876" y="6892"/>
                  <a:pt x="8951" y="6828"/>
                  <a:pt x="8966" y="6743"/>
                </a:cubicBezTo>
                <a:lnTo>
                  <a:pt x="8913" y="6743"/>
                </a:lnTo>
                <a:cubicBezTo>
                  <a:pt x="8913" y="6743"/>
                  <a:pt x="8912" y="6743"/>
                  <a:pt x="8912" y="6743"/>
                </a:cubicBezTo>
                <a:cubicBezTo>
                  <a:pt x="8898" y="6799"/>
                  <a:pt x="8847" y="6840"/>
                  <a:pt x="8785" y="6841"/>
                </a:cubicBezTo>
                <a:cubicBezTo>
                  <a:pt x="8713" y="6841"/>
                  <a:pt x="8654" y="6784"/>
                  <a:pt x="8653" y="6713"/>
                </a:cubicBezTo>
                <a:cubicBezTo>
                  <a:pt x="8653" y="6642"/>
                  <a:pt x="8711" y="6584"/>
                  <a:pt x="8784" y="6583"/>
                </a:cubicBezTo>
                <a:cubicBezTo>
                  <a:pt x="8845" y="6583"/>
                  <a:pt x="8897" y="6624"/>
                  <a:pt x="8912" y="6679"/>
                </a:cubicBezTo>
                <a:cubicBezTo>
                  <a:pt x="8912" y="6679"/>
                  <a:pt x="8912" y="6679"/>
                  <a:pt x="8913" y="6679"/>
                </a:cubicBezTo>
                <a:lnTo>
                  <a:pt x="8966" y="6679"/>
                </a:lnTo>
                <a:cubicBezTo>
                  <a:pt x="8954" y="6618"/>
                  <a:pt x="8912" y="6568"/>
                  <a:pt x="8856" y="6545"/>
                </a:cubicBezTo>
                <a:close/>
                <a:moveTo>
                  <a:pt x="8784" y="6905"/>
                </a:moveTo>
                <a:cubicBezTo>
                  <a:pt x="8678" y="6906"/>
                  <a:pt x="8590" y="6820"/>
                  <a:pt x="8590" y="6713"/>
                </a:cubicBezTo>
                <a:cubicBezTo>
                  <a:pt x="8589" y="6606"/>
                  <a:pt x="8675" y="6519"/>
                  <a:pt x="8782" y="6519"/>
                </a:cubicBezTo>
                <a:cubicBezTo>
                  <a:pt x="8889" y="6518"/>
                  <a:pt x="8976" y="6604"/>
                  <a:pt x="8977" y="6711"/>
                </a:cubicBezTo>
                <a:cubicBezTo>
                  <a:pt x="8977" y="6818"/>
                  <a:pt x="8891" y="6905"/>
                  <a:pt x="8784" y="6905"/>
                </a:cubicBezTo>
                <a:close/>
                <a:moveTo>
                  <a:pt x="8456" y="6432"/>
                </a:moveTo>
                <a:lnTo>
                  <a:pt x="8459" y="6892"/>
                </a:lnTo>
                <a:cubicBezTo>
                  <a:pt x="8459" y="6949"/>
                  <a:pt x="8506" y="6996"/>
                  <a:pt x="8564" y="6995"/>
                </a:cubicBezTo>
                <a:lnTo>
                  <a:pt x="9006" y="6993"/>
                </a:lnTo>
                <a:cubicBezTo>
                  <a:pt x="9064" y="6992"/>
                  <a:pt x="9110" y="6945"/>
                  <a:pt x="9110" y="6888"/>
                </a:cubicBezTo>
                <a:lnTo>
                  <a:pt x="9107" y="6428"/>
                </a:lnTo>
                <a:lnTo>
                  <a:pt x="8456" y="6432"/>
                </a:lnTo>
                <a:close/>
                <a:moveTo>
                  <a:pt x="8783" y="6047"/>
                </a:moveTo>
                <a:cubicBezTo>
                  <a:pt x="8944" y="6047"/>
                  <a:pt x="9090" y="6113"/>
                  <a:pt x="9196" y="6218"/>
                </a:cubicBezTo>
                <a:cubicBezTo>
                  <a:pt x="9221" y="6243"/>
                  <a:pt x="9243" y="6270"/>
                  <a:pt x="9263" y="6298"/>
                </a:cubicBezTo>
                <a:lnTo>
                  <a:pt x="10116" y="5880"/>
                </a:lnTo>
                <a:cubicBezTo>
                  <a:pt x="10111" y="5866"/>
                  <a:pt x="10108" y="5850"/>
                  <a:pt x="10108" y="5834"/>
                </a:cubicBezTo>
                <a:cubicBezTo>
                  <a:pt x="10108" y="5756"/>
                  <a:pt x="10172" y="5692"/>
                  <a:pt x="10250" y="5692"/>
                </a:cubicBezTo>
                <a:cubicBezTo>
                  <a:pt x="10284" y="5692"/>
                  <a:pt x="10315" y="5704"/>
                  <a:pt x="10339" y="5724"/>
                </a:cubicBezTo>
                <a:lnTo>
                  <a:pt x="10757" y="5322"/>
                </a:lnTo>
                <a:cubicBezTo>
                  <a:pt x="10701" y="5265"/>
                  <a:pt x="10656" y="5197"/>
                  <a:pt x="10627" y="5121"/>
                </a:cubicBezTo>
                <a:lnTo>
                  <a:pt x="8547" y="5712"/>
                </a:lnTo>
                <a:lnTo>
                  <a:pt x="8647" y="6063"/>
                </a:lnTo>
                <a:cubicBezTo>
                  <a:pt x="8691" y="6053"/>
                  <a:pt x="8736" y="6047"/>
                  <a:pt x="8783" y="6047"/>
                </a:cubicBezTo>
                <a:close/>
                <a:moveTo>
                  <a:pt x="9146" y="6268"/>
                </a:moveTo>
                <a:cubicBezTo>
                  <a:pt x="9053" y="6175"/>
                  <a:pt x="8925" y="6118"/>
                  <a:pt x="8783" y="6118"/>
                </a:cubicBezTo>
                <a:cubicBezTo>
                  <a:pt x="8641" y="6118"/>
                  <a:pt x="8512" y="6175"/>
                  <a:pt x="8419" y="6268"/>
                </a:cubicBezTo>
                <a:cubicBezTo>
                  <a:pt x="8326" y="6361"/>
                  <a:pt x="8268" y="6490"/>
                  <a:pt x="8268" y="6632"/>
                </a:cubicBezTo>
                <a:cubicBezTo>
                  <a:pt x="8268" y="6774"/>
                  <a:pt x="8326" y="6903"/>
                  <a:pt x="8419" y="6996"/>
                </a:cubicBezTo>
                <a:cubicBezTo>
                  <a:pt x="8512" y="7089"/>
                  <a:pt x="8641" y="7146"/>
                  <a:pt x="8783" y="7146"/>
                </a:cubicBezTo>
                <a:cubicBezTo>
                  <a:pt x="8925" y="7146"/>
                  <a:pt x="9053" y="7089"/>
                  <a:pt x="9146" y="6996"/>
                </a:cubicBezTo>
                <a:cubicBezTo>
                  <a:pt x="9240" y="6903"/>
                  <a:pt x="9297" y="6774"/>
                  <a:pt x="9297" y="6632"/>
                </a:cubicBezTo>
                <a:cubicBezTo>
                  <a:pt x="9297" y="6490"/>
                  <a:pt x="9240" y="6361"/>
                  <a:pt x="9146" y="6268"/>
                </a:cubicBezTo>
                <a:close/>
                <a:moveTo>
                  <a:pt x="11272" y="5129"/>
                </a:moveTo>
                <a:cubicBezTo>
                  <a:pt x="11272" y="5128"/>
                  <a:pt x="11271" y="5128"/>
                  <a:pt x="11271" y="5128"/>
                </a:cubicBezTo>
                <a:lnTo>
                  <a:pt x="11246" y="5128"/>
                </a:lnTo>
                <a:cubicBezTo>
                  <a:pt x="11245" y="5128"/>
                  <a:pt x="11245" y="5128"/>
                  <a:pt x="11245" y="5129"/>
                </a:cubicBezTo>
                <a:lnTo>
                  <a:pt x="11245" y="5148"/>
                </a:lnTo>
                <a:cubicBezTo>
                  <a:pt x="11245" y="5149"/>
                  <a:pt x="11245" y="5149"/>
                  <a:pt x="11246" y="5149"/>
                </a:cubicBezTo>
                <a:lnTo>
                  <a:pt x="11270" y="5149"/>
                </a:lnTo>
                <a:cubicBezTo>
                  <a:pt x="11271" y="5149"/>
                  <a:pt x="11272" y="5149"/>
                  <a:pt x="11272" y="5148"/>
                </a:cubicBezTo>
                <a:lnTo>
                  <a:pt x="11272" y="5129"/>
                </a:lnTo>
                <a:close/>
                <a:moveTo>
                  <a:pt x="11324" y="5129"/>
                </a:moveTo>
                <a:cubicBezTo>
                  <a:pt x="11324" y="5129"/>
                  <a:pt x="11323" y="5128"/>
                  <a:pt x="11322" y="5128"/>
                </a:cubicBezTo>
                <a:lnTo>
                  <a:pt x="11298" y="5128"/>
                </a:lnTo>
                <a:cubicBezTo>
                  <a:pt x="11297" y="5128"/>
                  <a:pt x="11297" y="5128"/>
                  <a:pt x="11297" y="5129"/>
                </a:cubicBezTo>
                <a:lnTo>
                  <a:pt x="11297" y="5148"/>
                </a:lnTo>
                <a:cubicBezTo>
                  <a:pt x="11297" y="5149"/>
                  <a:pt x="11297" y="5150"/>
                  <a:pt x="11298" y="5150"/>
                </a:cubicBezTo>
                <a:lnTo>
                  <a:pt x="11322" y="5150"/>
                </a:lnTo>
                <a:cubicBezTo>
                  <a:pt x="11323" y="5150"/>
                  <a:pt x="11323" y="5149"/>
                  <a:pt x="11323" y="5149"/>
                </a:cubicBezTo>
                <a:lnTo>
                  <a:pt x="11324" y="5129"/>
                </a:lnTo>
                <a:close/>
                <a:moveTo>
                  <a:pt x="11375" y="5130"/>
                </a:moveTo>
                <a:cubicBezTo>
                  <a:pt x="11375" y="5129"/>
                  <a:pt x="11375" y="5128"/>
                  <a:pt x="11374" y="5128"/>
                </a:cubicBezTo>
                <a:lnTo>
                  <a:pt x="11350" y="5128"/>
                </a:lnTo>
                <a:cubicBezTo>
                  <a:pt x="11349" y="5128"/>
                  <a:pt x="11349" y="5129"/>
                  <a:pt x="11349" y="5129"/>
                </a:cubicBezTo>
                <a:lnTo>
                  <a:pt x="11349" y="5149"/>
                </a:lnTo>
                <a:cubicBezTo>
                  <a:pt x="11349" y="5149"/>
                  <a:pt x="11349" y="5150"/>
                  <a:pt x="11350" y="5150"/>
                </a:cubicBezTo>
                <a:lnTo>
                  <a:pt x="11374" y="5150"/>
                </a:lnTo>
                <a:cubicBezTo>
                  <a:pt x="11375" y="5150"/>
                  <a:pt x="11375" y="5149"/>
                  <a:pt x="11375" y="5149"/>
                </a:cubicBezTo>
                <a:lnTo>
                  <a:pt x="11375" y="5130"/>
                </a:lnTo>
                <a:close/>
                <a:moveTo>
                  <a:pt x="11415" y="4722"/>
                </a:moveTo>
                <a:cubicBezTo>
                  <a:pt x="11415" y="4711"/>
                  <a:pt x="11406" y="4702"/>
                  <a:pt x="11395" y="4702"/>
                </a:cubicBezTo>
                <a:lnTo>
                  <a:pt x="10953" y="4700"/>
                </a:lnTo>
                <a:cubicBezTo>
                  <a:pt x="10943" y="4700"/>
                  <a:pt x="10934" y="4708"/>
                  <a:pt x="10934" y="4719"/>
                </a:cubicBezTo>
                <a:lnTo>
                  <a:pt x="10932" y="5068"/>
                </a:lnTo>
                <a:cubicBezTo>
                  <a:pt x="10932" y="5079"/>
                  <a:pt x="10940" y="5088"/>
                  <a:pt x="10951" y="5088"/>
                </a:cubicBezTo>
                <a:lnTo>
                  <a:pt x="11393" y="5091"/>
                </a:lnTo>
                <a:cubicBezTo>
                  <a:pt x="11404" y="5091"/>
                  <a:pt x="11413" y="5082"/>
                  <a:pt x="11413" y="5071"/>
                </a:cubicBezTo>
                <a:lnTo>
                  <a:pt x="11415" y="4722"/>
                </a:lnTo>
                <a:close/>
                <a:moveTo>
                  <a:pt x="11299" y="4504"/>
                </a:moveTo>
                <a:cubicBezTo>
                  <a:pt x="11309" y="4510"/>
                  <a:pt x="11322" y="4507"/>
                  <a:pt x="11327" y="4497"/>
                </a:cubicBezTo>
                <a:cubicBezTo>
                  <a:pt x="11333" y="4487"/>
                  <a:pt x="11330" y="4475"/>
                  <a:pt x="11320" y="4469"/>
                </a:cubicBezTo>
                <a:cubicBezTo>
                  <a:pt x="11310" y="4463"/>
                  <a:pt x="11298" y="4467"/>
                  <a:pt x="11292" y="4476"/>
                </a:cubicBezTo>
                <a:cubicBezTo>
                  <a:pt x="11286" y="4486"/>
                  <a:pt x="11290" y="4499"/>
                  <a:pt x="11299" y="4504"/>
                </a:cubicBezTo>
                <a:close/>
                <a:moveTo>
                  <a:pt x="11052" y="4503"/>
                </a:moveTo>
                <a:cubicBezTo>
                  <a:pt x="11061" y="4497"/>
                  <a:pt x="11065" y="4485"/>
                  <a:pt x="11059" y="4475"/>
                </a:cubicBezTo>
                <a:cubicBezTo>
                  <a:pt x="11054" y="4465"/>
                  <a:pt x="11041" y="4462"/>
                  <a:pt x="11031" y="4468"/>
                </a:cubicBezTo>
                <a:cubicBezTo>
                  <a:pt x="11022" y="4473"/>
                  <a:pt x="11018" y="4485"/>
                  <a:pt x="11024" y="4495"/>
                </a:cubicBezTo>
                <a:cubicBezTo>
                  <a:pt x="11029" y="4505"/>
                  <a:pt x="11042" y="4508"/>
                  <a:pt x="11052" y="4503"/>
                </a:cubicBezTo>
                <a:close/>
                <a:moveTo>
                  <a:pt x="11496" y="4663"/>
                </a:moveTo>
                <a:lnTo>
                  <a:pt x="11493" y="5214"/>
                </a:lnTo>
                <a:cubicBezTo>
                  <a:pt x="11493" y="5229"/>
                  <a:pt x="11481" y="5241"/>
                  <a:pt x="11465" y="5241"/>
                </a:cubicBezTo>
                <a:lnTo>
                  <a:pt x="10878" y="5238"/>
                </a:lnTo>
                <a:cubicBezTo>
                  <a:pt x="10862" y="5238"/>
                  <a:pt x="10850" y="5226"/>
                  <a:pt x="10850" y="5210"/>
                </a:cubicBezTo>
                <a:lnTo>
                  <a:pt x="10853" y="4660"/>
                </a:lnTo>
                <a:cubicBezTo>
                  <a:pt x="10853" y="4644"/>
                  <a:pt x="10866" y="4632"/>
                  <a:pt x="10881" y="4632"/>
                </a:cubicBezTo>
                <a:lnTo>
                  <a:pt x="11115" y="4633"/>
                </a:lnTo>
                <a:lnTo>
                  <a:pt x="11046" y="4512"/>
                </a:lnTo>
                <a:lnTo>
                  <a:pt x="11063" y="4503"/>
                </a:lnTo>
                <a:lnTo>
                  <a:pt x="11137" y="4634"/>
                </a:lnTo>
                <a:lnTo>
                  <a:pt x="11213" y="4634"/>
                </a:lnTo>
                <a:lnTo>
                  <a:pt x="11288" y="4504"/>
                </a:lnTo>
                <a:lnTo>
                  <a:pt x="11305" y="4514"/>
                </a:lnTo>
                <a:lnTo>
                  <a:pt x="11235" y="4634"/>
                </a:lnTo>
                <a:lnTo>
                  <a:pt x="11469" y="4635"/>
                </a:lnTo>
                <a:cubicBezTo>
                  <a:pt x="11484" y="4635"/>
                  <a:pt x="11496" y="4648"/>
                  <a:pt x="11496" y="4663"/>
                </a:cubicBezTo>
                <a:close/>
                <a:moveTo>
                  <a:pt x="11264" y="4333"/>
                </a:moveTo>
                <a:lnTo>
                  <a:pt x="11361" y="3788"/>
                </a:lnTo>
                <a:cubicBezTo>
                  <a:pt x="11328" y="3778"/>
                  <a:pt x="11300" y="3757"/>
                  <a:pt x="11282" y="3728"/>
                </a:cubicBezTo>
                <a:lnTo>
                  <a:pt x="8922" y="4823"/>
                </a:lnTo>
                <a:cubicBezTo>
                  <a:pt x="8928" y="4857"/>
                  <a:pt x="8931" y="4892"/>
                  <a:pt x="8931" y="4928"/>
                </a:cubicBezTo>
                <a:cubicBezTo>
                  <a:pt x="8931" y="5090"/>
                  <a:pt x="8866" y="5236"/>
                  <a:pt x="8760" y="5342"/>
                </a:cubicBezTo>
                <a:cubicBezTo>
                  <a:pt x="8686" y="5416"/>
                  <a:pt x="8591" y="5471"/>
                  <a:pt x="8486" y="5497"/>
                </a:cubicBezTo>
                <a:lnTo>
                  <a:pt x="8538" y="5678"/>
                </a:lnTo>
                <a:lnTo>
                  <a:pt x="10615" y="5087"/>
                </a:lnTo>
                <a:cubicBezTo>
                  <a:pt x="10598" y="5032"/>
                  <a:pt x="10588" y="4972"/>
                  <a:pt x="10588" y="4910"/>
                </a:cubicBezTo>
                <a:cubicBezTo>
                  <a:pt x="10588" y="4749"/>
                  <a:pt x="10654" y="4603"/>
                  <a:pt x="10759" y="4497"/>
                </a:cubicBezTo>
                <a:cubicBezTo>
                  <a:pt x="10865" y="4391"/>
                  <a:pt x="11012" y="4326"/>
                  <a:pt x="11173" y="4326"/>
                </a:cubicBezTo>
                <a:cubicBezTo>
                  <a:pt x="11204" y="4326"/>
                  <a:pt x="11234" y="4328"/>
                  <a:pt x="11264" y="4333"/>
                </a:cubicBezTo>
                <a:close/>
                <a:moveTo>
                  <a:pt x="11537" y="4547"/>
                </a:moveTo>
                <a:cubicBezTo>
                  <a:pt x="11444" y="4454"/>
                  <a:pt x="11315" y="4396"/>
                  <a:pt x="11173" y="4396"/>
                </a:cubicBezTo>
                <a:cubicBezTo>
                  <a:pt x="11031" y="4396"/>
                  <a:pt x="10902" y="4454"/>
                  <a:pt x="10809" y="4547"/>
                </a:cubicBezTo>
                <a:cubicBezTo>
                  <a:pt x="10716" y="4640"/>
                  <a:pt x="10659" y="4768"/>
                  <a:pt x="10659" y="4910"/>
                </a:cubicBezTo>
                <a:cubicBezTo>
                  <a:pt x="10659" y="5053"/>
                  <a:pt x="10716" y="5181"/>
                  <a:pt x="10809" y="5274"/>
                </a:cubicBezTo>
                <a:cubicBezTo>
                  <a:pt x="10902" y="5367"/>
                  <a:pt x="11031" y="5425"/>
                  <a:pt x="11173" y="5425"/>
                </a:cubicBezTo>
                <a:cubicBezTo>
                  <a:pt x="11315" y="5425"/>
                  <a:pt x="11444" y="5367"/>
                  <a:pt x="11537" y="5274"/>
                </a:cubicBezTo>
                <a:cubicBezTo>
                  <a:pt x="11630" y="5181"/>
                  <a:pt x="11687" y="5053"/>
                  <a:pt x="11687" y="4910"/>
                </a:cubicBezTo>
                <a:cubicBezTo>
                  <a:pt x="11687" y="4768"/>
                  <a:pt x="11630" y="4640"/>
                  <a:pt x="11537" y="4547"/>
                </a:cubicBezTo>
                <a:close/>
                <a:moveTo>
                  <a:pt x="8022" y="4674"/>
                </a:moveTo>
                <a:cubicBezTo>
                  <a:pt x="8012" y="4687"/>
                  <a:pt x="8016" y="4700"/>
                  <a:pt x="8021" y="4713"/>
                </a:cubicBezTo>
                <a:cubicBezTo>
                  <a:pt x="8085" y="4690"/>
                  <a:pt x="8171" y="4774"/>
                  <a:pt x="8159" y="4837"/>
                </a:cubicBezTo>
                <a:cubicBezTo>
                  <a:pt x="8172" y="4836"/>
                  <a:pt x="8184" y="4842"/>
                  <a:pt x="8196" y="4830"/>
                </a:cubicBezTo>
                <a:cubicBezTo>
                  <a:pt x="8208" y="4752"/>
                  <a:pt x="8098" y="4653"/>
                  <a:pt x="8022" y="4674"/>
                </a:cubicBezTo>
                <a:close/>
                <a:moveTo>
                  <a:pt x="8026" y="4601"/>
                </a:moveTo>
                <a:cubicBezTo>
                  <a:pt x="8012" y="4620"/>
                  <a:pt x="8017" y="4638"/>
                  <a:pt x="8025" y="4657"/>
                </a:cubicBezTo>
                <a:cubicBezTo>
                  <a:pt x="8116" y="4624"/>
                  <a:pt x="8239" y="4744"/>
                  <a:pt x="8222" y="4834"/>
                </a:cubicBezTo>
                <a:cubicBezTo>
                  <a:pt x="8239" y="4832"/>
                  <a:pt x="8257" y="4841"/>
                  <a:pt x="8274" y="4824"/>
                </a:cubicBezTo>
                <a:cubicBezTo>
                  <a:pt x="8291" y="4713"/>
                  <a:pt x="8135" y="4572"/>
                  <a:pt x="8026" y="4601"/>
                </a:cubicBezTo>
                <a:close/>
                <a:moveTo>
                  <a:pt x="8023" y="4736"/>
                </a:moveTo>
                <a:cubicBezTo>
                  <a:pt x="8015" y="4747"/>
                  <a:pt x="8024" y="4757"/>
                  <a:pt x="8020" y="4768"/>
                </a:cubicBezTo>
                <a:cubicBezTo>
                  <a:pt x="8059" y="4759"/>
                  <a:pt x="8106" y="4802"/>
                  <a:pt x="8102" y="4842"/>
                </a:cubicBezTo>
                <a:cubicBezTo>
                  <a:pt x="8113" y="4836"/>
                  <a:pt x="8125" y="4847"/>
                  <a:pt x="8136" y="4833"/>
                </a:cubicBezTo>
                <a:cubicBezTo>
                  <a:pt x="8144" y="4781"/>
                  <a:pt x="8073" y="4716"/>
                  <a:pt x="8023" y="4736"/>
                </a:cubicBezTo>
                <a:close/>
                <a:moveTo>
                  <a:pt x="8582" y="5102"/>
                </a:moveTo>
                <a:cubicBezTo>
                  <a:pt x="8566" y="5102"/>
                  <a:pt x="8553" y="5115"/>
                  <a:pt x="8552" y="5131"/>
                </a:cubicBezTo>
                <a:cubicBezTo>
                  <a:pt x="8552" y="5147"/>
                  <a:pt x="8565" y="5160"/>
                  <a:pt x="8581" y="5161"/>
                </a:cubicBezTo>
                <a:cubicBezTo>
                  <a:pt x="8597" y="5161"/>
                  <a:pt x="8610" y="5148"/>
                  <a:pt x="8610" y="5132"/>
                </a:cubicBezTo>
                <a:cubicBezTo>
                  <a:pt x="8611" y="5116"/>
                  <a:pt x="8598" y="5103"/>
                  <a:pt x="8582" y="5102"/>
                </a:cubicBezTo>
                <a:close/>
                <a:moveTo>
                  <a:pt x="8488" y="5101"/>
                </a:moveTo>
                <a:cubicBezTo>
                  <a:pt x="8472" y="5101"/>
                  <a:pt x="8459" y="5114"/>
                  <a:pt x="8458" y="5130"/>
                </a:cubicBezTo>
                <a:cubicBezTo>
                  <a:pt x="8458" y="5146"/>
                  <a:pt x="8471" y="5159"/>
                  <a:pt x="8487" y="5159"/>
                </a:cubicBezTo>
                <a:cubicBezTo>
                  <a:pt x="8503" y="5159"/>
                  <a:pt x="8516" y="5146"/>
                  <a:pt x="8516" y="5131"/>
                </a:cubicBezTo>
                <a:cubicBezTo>
                  <a:pt x="8517" y="5114"/>
                  <a:pt x="8504" y="5101"/>
                  <a:pt x="8488" y="5101"/>
                </a:cubicBezTo>
                <a:close/>
                <a:moveTo>
                  <a:pt x="8394" y="5100"/>
                </a:moveTo>
                <a:cubicBezTo>
                  <a:pt x="8378" y="5099"/>
                  <a:pt x="8365" y="5112"/>
                  <a:pt x="8364" y="5128"/>
                </a:cubicBezTo>
                <a:cubicBezTo>
                  <a:pt x="8364" y="5144"/>
                  <a:pt x="8377" y="5157"/>
                  <a:pt x="8393" y="5158"/>
                </a:cubicBezTo>
                <a:cubicBezTo>
                  <a:pt x="8409" y="5158"/>
                  <a:pt x="8422" y="5145"/>
                  <a:pt x="8422" y="5129"/>
                </a:cubicBezTo>
                <a:cubicBezTo>
                  <a:pt x="8423" y="5113"/>
                  <a:pt x="8410" y="5100"/>
                  <a:pt x="8394" y="5100"/>
                </a:cubicBezTo>
                <a:close/>
                <a:moveTo>
                  <a:pt x="8300" y="5098"/>
                </a:moveTo>
                <a:cubicBezTo>
                  <a:pt x="8284" y="5098"/>
                  <a:pt x="8271" y="5111"/>
                  <a:pt x="8270" y="5127"/>
                </a:cubicBezTo>
                <a:cubicBezTo>
                  <a:pt x="8270" y="5143"/>
                  <a:pt x="8283" y="5156"/>
                  <a:pt x="8299" y="5156"/>
                </a:cubicBezTo>
                <a:cubicBezTo>
                  <a:pt x="8315" y="5156"/>
                  <a:pt x="8328" y="5144"/>
                  <a:pt x="8328" y="5128"/>
                </a:cubicBezTo>
                <a:cubicBezTo>
                  <a:pt x="8329" y="5112"/>
                  <a:pt x="8316" y="5098"/>
                  <a:pt x="8300" y="5098"/>
                </a:cubicBezTo>
                <a:close/>
                <a:moveTo>
                  <a:pt x="8206" y="5097"/>
                </a:moveTo>
                <a:cubicBezTo>
                  <a:pt x="8190" y="5096"/>
                  <a:pt x="8176" y="5109"/>
                  <a:pt x="8176" y="5125"/>
                </a:cubicBezTo>
                <a:cubicBezTo>
                  <a:pt x="8176" y="5141"/>
                  <a:pt x="8189" y="5154"/>
                  <a:pt x="8205" y="5155"/>
                </a:cubicBezTo>
                <a:cubicBezTo>
                  <a:pt x="8221" y="5155"/>
                  <a:pt x="8234" y="5142"/>
                  <a:pt x="8234" y="5126"/>
                </a:cubicBezTo>
                <a:cubicBezTo>
                  <a:pt x="8235" y="5110"/>
                  <a:pt x="8222" y="5097"/>
                  <a:pt x="8206" y="5097"/>
                </a:cubicBezTo>
                <a:close/>
                <a:moveTo>
                  <a:pt x="8112" y="5095"/>
                </a:moveTo>
                <a:cubicBezTo>
                  <a:pt x="8096" y="5095"/>
                  <a:pt x="8082" y="5108"/>
                  <a:pt x="8082" y="5124"/>
                </a:cubicBezTo>
                <a:cubicBezTo>
                  <a:pt x="8082" y="5140"/>
                  <a:pt x="8095" y="5153"/>
                  <a:pt x="8111" y="5153"/>
                </a:cubicBezTo>
                <a:cubicBezTo>
                  <a:pt x="8127" y="5154"/>
                  <a:pt x="8140" y="5141"/>
                  <a:pt x="8140" y="5125"/>
                </a:cubicBezTo>
                <a:cubicBezTo>
                  <a:pt x="8141" y="5109"/>
                  <a:pt x="8128" y="5095"/>
                  <a:pt x="8112" y="5095"/>
                </a:cubicBezTo>
                <a:close/>
                <a:moveTo>
                  <a:pt x="8729" y="5209"/>
                </a:moveTo>
                <a:cubicBezTo>
                  <a:pt x="8729" y="5218"/>
                  <a:pt x="8722" y="5225"/>
                  <a:pt x="8713" y="5225"/>
                </a:cubicBezTo>
                <a:lnTo>
                  <a:pt x="7976" y="5213"/>
                </a:lnTo>
                <a:cubicBezTo>
                  <a:pt x="7968" y="5213"/>
                  <a:pt x="7961" y="5206"/>
                  <a:pt x="7961" y="5197"/>
                </a:cubicBezTo>
                <a:lnTo>
                  <a:pt x="7963" y="5047"/>
                </a:lnTo>
                <a:cubicBezTo>
                  <a:pt x="7963" y="5038"/>
                  <a:pt x="7971" y="5031"/>
                  <a:pt x="7979" y="5031"/>
                </a:cubicBezTo>
                <a:lnTo>
                  <a:pt x="8011" y="5032"/>
                </a:lnTo>
                <a:cubicBezTo>
                  <a:pt x="8010" y="5031"/>
                  <a:pt x="8010" y="5030"/>
                  <a:pt x="8010" y="5030"/>
                </a:cubicBezTo>
                <a:lnTo>
                  <a:pt x="8012" y="4929"/>
                </a:lnTo>
                <a:cubicBezTo>
                  <a:pt x="8012" y="4927"/>
                  <a:pt x="8015" y="4924"/>
                  <a:pt x="8020" y="4924"/>
                </a:cubicBezTo>
                <a:lnTo>
                  <a:pt x="8022" y="4924"/>
                </a:lnTo>
                <a:lnTo>
                  <a:pt x="8023" y="4835"/>
                </a:lnTo>
                <a:cubicBezTo>
                  <a:pt x="8023" y="4832"/>
                  <a:pt x="8025" y="4829"/>
                  <a:pt x="8027" y="4829"/>
                </a:cubicBezTo>
                <a:lnTo>
                  <a:pt x="8039" y="4830"/>
                </a:lnTo>
                <a:cubicBezTo>
                  <a:pt x="8041" y="4830"/>
                  <a:pt x="8043" y="4832"/>
                  <a:pt x="8043" y="4835"/>
                </a:cubicBezTo>
                <a:lnTo>
                  <a:pt x="8042" y="4925"/>
                </a:lnTo>
                <a:lnTo>
                  <a:pt x="8044" y="4925"/>
                </a:lnTo>
                <a:cubicBezTo>
                  <a:pt x="8048" y="4925"/>
                  <a:pt x="8052" y="4927"/>
                  <a:pt x="8052" y="4930"/>
                </a:cubicBezTo>
                <a:lnTo>
                  <a:pt x="8050" y="5031"/>
                </a:lnTo>
                <a:cubicBezTo>
                  <a:pt x="8050" y="5031"/>
                  <a:pt x="8050" y="5032"/>
                  <a:pt x="8050" y="5032"/>
                </a:cubicBezTo>
                <a:lnTo>
                  <a:pt x="8716" y="5042"/>
                </a:lnTo>
                <a:cubicBezTo>
                  <a:pt x="8725" y="5043"/>
                  <a:pt x="8732" y="5050"/>
                  <a:pt x="8732" y="5059"/>
                </a:cubicBezTo>
                <a:lnTo>
                  <a:pt x="8729" y="5209"/>
                </a:lnTo>
                <a:close/>
                <a:moveTo>
                  <a:pt x="8346" y="4343"/>
                </a:moveTo>
                <a:cubicBezTo>
                  <a:pt x="8508" y="4343"/>
                  <a:pt x="8654" y="4409"/>
                  <a:pt x="8760" y="4515"/>
                </a:cubicBezTo>
                <a:cubicBezTo>
                  <a:pt x="8834" y="4589"/>
                  <a:pt x="8888" y="4683"/>
                  <a:pt x="8914" y="4788"/>
                </a:cubicBezTo>
                <a:lnTo>
                  <a:pt x="11268" y="3696"/>
                </a:lnTo>
                <a:cubicBezTo>
                  <a:pt x="11264" y="3686"/>
                  <a:pt x="11262" y="3675"/>
                  <a:pt x="11261" y="3663"/>
                </a:cubicBezTo>
                <a:lnTo>
                  <a:pt x="8220" y="3507"/>
                </a:lnTo>
                <a:cubicBezTo>
                  <a:pt x="8206" y="3645"/>
                  <a:pt x="8145" y="3769"/>
                  <a:pt x="8052" y="3862"/>
                </a:cubicBezTo>
                <a:cubicBezTo>
                  <a:pt x="8002" y="3912"/>
                  <a:pt x="7942" y="3953"/>
                  <a:pt x="7877" y="3983"/>
                </a:cubicBezTo>
                <a:lnTo>
                  <a:pt x="8075" y="4410"/>
                </a:lnTo>
                <a:cubicBezTo>
                  <a:pt x="8156" y="4368"/>
                  <a:pt x="8248" y="4343"/>
                  <a:pt x="8346" y="4343"/>
                </a:cubicBezTo>
                <a:close/>
                <a:moveTo>
                  <a:pt x="8451" y="5504"/>
                </a:moveTo>
                <a:cubicBezTo>
                  <a:pt x="8417" y="5510"/>
                  <a:pt x="8382" y="5513"/>
                  <a:pt x="8346" y="5513"/>
                </a:cubicBezTo>
                <a:cubicBezTo>
                  <a:pt x="8226" y="5513"/>
                  <a:pt x="8114" y="5477"/>
                  <a:pt x="8021" y="5414"/>
                </a:cubicBezTo>
                <a:cubicBezTo>
                  <a:pt x="7819" y="5608"/>
                  <a:pt x="7617" y="5803"/>
                  <a:pt x="7416" y="5997"/>
                </a:cubicBezTo>
                <a:lnTo>
                  <a:pt x="8504" y="5688"/>
                </a:lnTo>
                <a:lnTo>
                  <a:pt x="8451" y="5504"/>
                </a:lnTo>
                <a:close/>
                <a:moveTo>
                  <a:pt x="8710" y="4565"/>
                </a:moveTo>
                <a:cubicBezTo>
                  <a:pt x="8617" y="4472"/>
                  <a:pt x="8488" y="4414"/>
                  <a:pt x="8346" y="4414"/>
                </a:cubicBezTo>
                <a:cubicBezTo>
                  <a:pt x="8204" y="4414"/>
                  <a:pt x="8076" y="4472"/>
                  <a:pt x="7983" y="4565"/>
                </a:cubicBezTo>
                <a:cubicBezTo>
                  <a:pt x="7889" y="4658"/>
                  <a:pt x="7832" y="4786"/>
                  <a:pt x="7832" y="4928"/>
                </a:cubicBezTo>
                <a:cubicBezTo>
                  <a:pt x="7832" y="5070"/>
                  <a:pt x="7889" y="5199"/>
                  <a:pt x="7983" y="5292"/>
                </a:cubicBezTo>
                <a:cubicBezTo>
                  <a:pt x="8076" y="5385"/>
                  <a:pt x="8204" y="5443"/>
                  <a:pt x="8346" y="5443"/>
                </a:cubicBezTo>
                <a:cubicBezTo>
                  <a:pt x="8488" y="5443"/>
                  <a:pt x="8617" y="5385"/>
                  <a:pt x="8710" y="5292"/>
                </a:cubicBezTo>
                <a:cubicBezTo>
                  <a:pt x="8803" y="5199"/>
                  <a:pt x="8861" y="5070"/>
                  <a:pt x="8861" y="4928"/>
                </a:cubicBezTo>
                <a:cubicBezTo>
                  <a:pt x="8861" y="4786"/>
                  <a:pt x="8803" y="4658"/>
                  <a:pt x="8710" y="4565"/>
                </a:cubicBezTo>
                <a:close/>
                <a:moveTo>
                  <a:pt x="1525" y="4996"/>
                </a:moveTo>
                <a:lnTo>
                  <a:pt x="1319" y="4997"/>
                </a:lnTo>
                <a:lnTo>
                  <a:pt x="1318" y="4944"/>
                </a:lnTo>
                <a:lnTo>
                  <a:pt x="1240" y="4944"/>
                </a:lnTo>
                <a:lnTo>
                  <a:pt x="1240" y="4895"/>
                </a:lnTo>
                <a:lnTo>
                  <a:pt x="1241" y="4895"/>
                </a:lnTo>
                <a:cubicBezTo>
                  <a:pt x="1246" y="4895"/>
                  <a:pt x="1251" y="4891"/>
                  <a:pt x="1251" y="4886"/>
                </a:cubicBezTo>
                <a:lnTo>
                  <a:pt x="1251" y="4873"/>
                </a:lnTo>
                <a:lnTo>
                  <a:pt x="1394" y="4872"/>
                </a:lnTo>
                <a:cubicBezTo>
                  <a:pt x="1401" y="4872"/>
                  <a:pt x="1406" y="4866"/>
                  <a:pt x="1406" y="4860"/>
                </a:cubicBezTo>
                <a:lnTo>
                  <a:pt x="1406" y="4840"/>
                </a:lnTo>
                <a:cubicBezTo>
                  <a:pt x="1406" y="4834"/>
                  <a:pt x="1400" y="4828"/>
                  <a:pt x="1393" y="4828"/>
                </a:cubicBezTo>
                <a:lnTo>
                  <a:pt x="1250" y="4829"/>
                </a:lnTo>
                <a:lnTo>
                  <a:pt x="1250" y="4817"/>
                </a:lnTo>
                <a:cubicBezTo>
                  <a:pt x="1250" y="4811"/>
                  <a:pt x="1246" y="4807"/>
                  <a:pt x="1240" y="4807"/>
                </a:cubicBezTo>
                <a:lnTo>
                  <a:pt x="1166" y="4808"/>
                </a:lnTo>
                <a:cubicBezTo>
                  <a:pt x="1160" y="4808"/>
                  <a:pt x="1156" y="4812"/>
                  <a:pt x="1156" y="4817"/>
                </a:cubicBezTo>
                <a:lnTo>
                  <a:pt x="1156" y="4830"/>
                </a:lnTo>
                <a:lnTo>
                  <a:pt x="1038" y="4831"/>
                </a:lnTo>
                <a:cubicBezTo>
                  <a:pt x="1031" y="4831"/>
                  <a:pt x="1025" y="4836"/>
                  <a:pt x="1025" y="4843"/>
                </a:cubicBezTo>
                <a:lnTo>
                  <a:pt x="1025" y="4862"/>
                </a:lnTo>
                <a:cubicBezTo>
                  <a:pt x="1025" y="4869"/>
                  <a:pt x="1031" y="4874"/>
                  <a:pt x="1038" y="4874"/>
                </a:cubicBezTo>
                <a:lnTo>
                  <a:pt x="1156" y="4873"/>
                </a:lnTo>
                <a:lnTo>
                  <a:pt x="1156" y="4886"/>
                </a:lnTo>
                <a:cubicBezTo>
                  <a:pt x="1156" y="4891"/>
                  <a:pt x="1161" y="4896"/>
                  <a:pt x="1167" y="4896"/>
                </a:cubicBezTo>
                <a:lnTo>
                  <a:pt x="1179" y="4896"/>
                </a:lnTo>
                <a:lnTo>
                  <a:pt x="1179" y="4945"/>
                </a:lnTo>
                <a:lnTo>
                  <a:pt x="1112" y="4945"/>
                </a:lnTo>
                <a:lnTo>
                  <a:pt x="1113" y="4999"/>
                </a:lnTo>
                <a:lnTo>
                  <a:pt x="1044" y="4999"/>
                </a:lnTo>
                <a:cubicBezTo>
                  <a:pt x="1035" y="4999"/>
                  <a:pt x="977" y="4997"/>
                  <a:pt x="974" y="5040"/>
                </a:cubicBezTo>
                <a:lnTo>
                  <a:pt x="974" y="5077"/>
                </a:lnTo>
                <a:lnTo>
                  <a:pt x="975" y="5151"/>
                </a:lnTo>
                <a:lnTo>
                  <a:pt x="976" y="5346"/>
                </a:lnTo>
                <a:cubicBezTo>
                  <a:pt x="976" y="5354"/>
                  <a:pt x="984" y="5361"/>
                  <a:pt x="993" y="5361"/>
                </a:cubicBezTo>
                <a:lnTo>
                  <a:pt x="1122" y="5360"/>
                </a:lnTo>
                <a:cubicBezTo>
                  <a:pt x="1132" y="5360"/>
                  <a:pt x="1139" y="5353"/>
                  <a:pt x="1139" y="5345"/>
                </a:cubicBezTo>
                <a:lnTo>
                  <a:pt x="1137" y="5158"/>
                </a:lnTo>
                <a:lnTo>
                  <a:pt x="1526" y="5155"/>
                </a:lnTo>
                <a:cubicBezTo>
                  <a:pt x="1535" y="5155"/>
                  <a:pt x="1543" y="5148"/>
                  <a:pt x="1543" y="5140"/>
                </a:cubicBezTo>
                <a:lnTo>
                  <a:pt x="1542" y="5011"/>
                </a:lnTo>
                <a:cubicBezTo>
                  <a:pt x="1542" y="5003"/>
                  <a:pt x="1534" y="4996"/>
                  <a:pt x="1525" y="4996"/>
                </a:cubicBezTo>
                <a:close/>
                <a:moveTo>
                  <a:pt x="1084" y="5564"/>
                </a:moveTo>
                <a:cubicBezTo>
                  <a:pt x="1073" y="5583"/>
                  <a:pt x="1069" y="5601"/>
                  <a:pt x="1076" y="5604"/>
                </a:cubicBezTo>
                <a:cubicBezTo>
                  <a:pt x="1082" y="5608"/>
                  <a:pt x="1097" y="5596"/>
                  <a:pt x="1109" y="5577"/>
                </a:cubicBezTo>
                <a:cubicBezTo>
                  <a:pt x="1120" y="5558"/>
                  <a:pt x="1124" y="5540"/>
                  <a:pt x="1117" y="5537"/>
                </a:cubicBezTo>
                <a:cubicBezTo>
                  <a:pt x="1110" y="5533"/>
                  <a:pt x="1095" y="5545"/>
                  <a:pt x="1084" y="5564"/>
                </a:cubicBezTo>
                <a:close/>
                <a:moveTo>
                  <a:pt x="1141" y="5542"/>
                </a:moveTo>
                <a:cubicBezTo>
                  <a:pt x="1142" y="5589"/>
                  <a:pt x="1101" y="5627"/>
                  <a:pt x="1050" y="5628"/>
                </a:cubicBezTo>
                <a:cubicBezTo>
                  <a:pt x="1000" y="5628"/>
                  <a:pt x="958" y="5590"/>
                  <a:pt x="958" y="5543"/>
                </a:cubicBezTo>
                <a:cubicBezTo>
                  <a:pt x="958" y="5496"/>
                  <a:pt x="1048" y="5361"/>
                  <a:pt x="1048" y="5361"/>
                </a:cubicBezTo>
                <a:cubicBezTo>
                  <a:pt x="1048" y="5361"/>
                  <a:pt x="1141" y="5495"/>
                  <a:pt x="1141" y="5542"/>
                </a:cubicBezTo>
                <a:close/>
                <a:moveTo>
                  <a:pt x="1757" y="5110"/>
                </a:moveTo>
                <a:lnTo>
                  <a:pt x="2252" y="5053"/>
                </a:lnTo>
                <a:cubicBezTo>
                  <a:pt x="2253" y="5008"/>
                  <a:pt x="2273" y="4969"/>
                  <a:pt x="2306" y="4943"/>
                </a:cubicBezTo>
                <a:lnTo>
                  <a:pt x="1509" y="3644"/>
                </a:lnTo>
                <a:cubicBezTo>
                  <a:pt x="1424" y="3692"/>
                  <a:pt x="1326" y="3719"/>
                  <a:pt x="1221" y="3719"/>
                </a:cubicBezTo>
                <a:cubicBezTo>
                  <a:pt x="1060" y="3719"/>
                  <a:pt x="913" y="3654"/>
                  <a:pt x="808" y="3548"/>
                </a:cubicBezTo>
                <a:cubicBezTo>
                  <a:pt x="806" y="3546"/>
                  <a:pt x="804" y="3545"/>
                  <a:pt x="803" y="3543"/>
                </a:cubicBezTo>
                <a:lnTo>
                  <a:pt x="263" y="3970"/>
                </a:lnTo>
                <a:cubicBezTo>
                  <a:pt x="276" y="3991"/>
                  <a:pt x="284" y="4016"/>
                  <a:pt x="284" y="4043"/>
                </a:cubicBezTo>
                <a:cubicBezTo>
                  <a:pt x="284" y="4079"/>
                  <a:pt x="271" y="4111"/>
                  <a:pt x="249" y="4136"/>
                </a:cubicBezTo>
                <a:lnTo>
                  <a:pt x="777" y="4729"/>
                </a:lnTo>
                <a:cubicBezTo>
                  <a:pt x="882" y="4632"/>
                  <a:pt x="1021" y="4573"/>
                  <a:pt x="1174" y="4573"/>
                </a:cubicBezTo>
                <a:cubicBezTo>
                  <a:pt x="1335" y="4573"/>
                  <a:pt x="1482" y="4639"/>
                  <a:pt x="1588" y="4745"/>
                </a:cubicBezTo>
                <a:cubicBezTo>
                  <a:pt x="1683" y="4840"/>
                  <a:pt x="1745" y="4968"/>
                  <a:pt x="1757" y="5110"/>
                </a:cubicBezTo>
                <a:close/>
                <a:moveTo>
                  <a:pt x="1538" y="4795"/>
                </a:moveTo>
                <a:cubicBezTo>
                  <a:pt x="1445" y="4702"/>
                  <a:pt x="1316" y="4644"/>
                  <a:pt x="1174" y="4644"/>
                </a:cubicBezTo>
                <a:cubicBezTo>
                  <a:pt x="1032" y="4644"/>
                  <a:pt x="903" y="4702"/>
                  <a:pt x="810" y="4795"/>
                </a:cubicBezTo>
                <a:cubicBezTo>
                  <a:pt x="717" y="4888"/>
                  <a:pt x="660" y="5016"/>
                  <a:pt x="660" y="5158"/>
                </a:cubicBezTo>
                <a:cubicBezTo>
                  <a:pt x="660" y="5300"/>
                  <a:pt x="717" y="5429"/>
                  <a:pt x="810" y="5522"/>
                </a:cubicBezTo>
                <a:cubicBezTo>
                  <a:pt x="903" y="5615"/>
                  <a:pt x="1032" y="5673"/>
                  <a:pt x="1174" y="5673"/>
                </a:cubicBezTo>
                <a:cubicBezTo>
                  <a:pt x="1316" y="5673"/>
                  <a:pt x="1445" y="5615"/>
                  <a:pt x="1538" y="5522"/>
                </a:cubicBezTo>
                <a:cubicBezTo>
                  <a:pt x="1631" y="5429"/>
                  <a:pt x="1688" y="5300"/>
                  <a:pt x="1688" y="5158"/>
                </a:cubicBezTo>
                <a:cubicBezTo>
                  <a:pt x="1688" y="5016"/>
                  <a:pt x="1631" y="4888"/>
                  <a:pt x="1538" y="4795"/>
                </a:cubicBezTo>
                <a:close/>
                <a:moveTo>
                  <a:pt x="4744" y="4195"/>
                </a:moveTo>
                <a:cubicBezTo>
                  <a:pt x="4751" y="4173"/>
                  <a:pt x="4775" y="4162"/>
                  <a:pt x="4796" y="4170"/>
                </a:cubicBezTo>
                <a:cubicBezTo>
                  <a:pt x="4818" y="4177"/>
                  <a:pt x="4830" y="4201"/>
                  <a:pt x="4822" y="4222"/>
                </a:cubicBezTo>
                <a:cubicBezTo>
                  <a:pt x="4814" y="4244"/>
                  <a:pt x="4791" y="4255"/>
                  <a:pt x="4769" y="4248"/>
                </a:cubicBezTo>
                <a:cubicBezTo>
                  <a:pt x="4748" y="4240"/>
                  <a:pt x="4736" y="4216"/>
                  <a:pt x="4744" y="4195"/>
                </a:cubicBezTo>
                <a:close/>
                <a:moveTo>
                  <a:pt x="4861" y="4171"/>
                </a:moveTo>
                <a:cubicBezTo>
                  <a:pt x="4869" y="4150"/>
                  <a:pt x="4893" y="4138"/>
                  <a:pt x="4914" y="4146"/>
                </a:cubicBezTo>
                <a:cubicBezTo>
                  <a:pt x="4936" y="4154"/>
                  <a:pt x="4947" y="4177"/>
                  <a:pt x="4940" y="4199"/>
                </a:cubicBezTo>
                <a:cubicBezTo>
                  <a:pt x="4932" y="4220"/>
                  <a:pt x="4908" y="4232"/>
                  <a:pt x="4887" y="4224"/>
                </a:cubicBezTo>
                <a:cubicBezTo>
                  <a:pt x="4865" y="4217"/>
                  <a:pt x="4854" y="4193"/>
                  <a:pt x="4861" y="4171"/>
                </a:cubicBezTo>
                <a:close/>
                <a:moveTo>
                  <a:pt x="4824" y="4279"/>
                </a:moveTo>
                <a:cubicBezTo>
                  <a:pt x="4831" y="4257"/>
                  <a:pt x="4855" y="4246"/>
                  <a:pt x="4876" y="4254"/>
                </a:cubicBezTo>
                <a:cubicBezTo>
                  <a:pt x="4898" y="4261"/>
                  <a:pt x="4909" y="4285"/>
                  <a:pt x="4902" y="4306"/>
                </a:cubicBezTo>
                <a:cubicBezTo>
                  <a:pt x="4894" y="4328"/>
                  <a:pt x="4871" y="4339"/>
                  <a:pt x="4849" y="4332"/>
                </a:cubicBezTo>
                <a:cubicBezTo>
                  <a:pt x="4827" y="4324"/>
                  <a:pt x="4816" y="4300"/>
                  <a:pt x="4824" y="4279"/>
                </a:cubicBezTo>
                <a:close/>
                <a:moveTo>
                  <a:pt x="5106" y="4284"/>
                </a:moveTo>
                <a:lnTo>
                  <a:pt x="5110" y="4285"/>
                </a:lnTo>
                <a:lnTo>
                  <a:pt x="5159" y="4302"/>
                </a:lnTo>
                <a:lnTo>
                  <a:pt x="5177" y="4253"/>
                </a:lnTo>
                <a:lnTo>
                  <a:pt x="5178" y="4249"/>
                </a:lnTo>
                <a:lnTo>
                  <a:pt x="5182" y="4250"/>
                </a:lnTo>
                <a:lnTo>
                  <a:pt x="5231" y="4268"/>
                </a:lnTo>
                <a:lnTo>
                  <a:pt x="5236" y="4269"/>
                </a:lnTo>
                <a:lnTo>
                  <a:pt x="5234" y="4273"/>
                </a:lnTo>
                <a:lnTo>
                  <a:pt x="5217" y="4323"/>
                </a:lnTo>
                <a:lnTo>
                  <a:pt x="5266" y="4340"/>
                </a:lnTo>
                <a:lnTo>
                  <a:pt x="5270" y="4341"/>
                </a:lnTo>
                <a:lnTo>
                  <a:pt x="5269" y="4346"/>
                </a:lnTo>
                <a:lnTo>
                  <a:pt x="5251" y="4395"/>
                </a:lnTo>
                <a:lnTo>
                  <a:pt x="5250" y="4399"/>
                </a:lnTo>
                <a:lnTo>
                  <a:pt x="5246" y="4397"/>
                </a:lnTo>
                <a:lnTo>
                  <a:pt x="5197" y="4380"/>
                </a:lnTo>
                <a:lnTo>
                  <a:pt x="5179" y="4429"/>
                </a:lnTo>
                <a:lnTo>
                  <a:pt x="5178" y="4434"/>
                </a:lnTo>
                <a:lnTo>
                  <a:pt x="5174" y="4432"/>
                </a:lnTo>
                <a:lnTo>
                  <a:pt x="5124" y="4415"/>
                </a:lnTo>
                <a:lnTo>
                  <a:pt x="5120" y="4413"/>
                </a:lnTo>
                <a:lnTo>
                  <a:pt x="5122" y="4409"/>
                </a:lnTo>
                <a:lnTo>
                  <a:pt x="5139" y="4360"/>
                </a:lnTo>
                <a:lnTo>
                  <a:pt x="5090" y="4343"/>
                </a:lnTo>
                <a:lnTo>
                  <a:pt x="5086" y="4341"/>
                </a:lnTo>
                <a:lnTo>
                  <a:pt x="5087" y="4337"/>
                </a:lnTo>
                <a:lnTo>
                  <a:pt x="5104" y="4288"/>
                </a:lnTo>
                <a:lnTo>
                  <a:pt x="5106" y="4284"/>
                </a:lnTo>
                <a:close/>
                <a:moveTo>
                  <a:pt x="4585" y="4402"/>
                </a:moveTo>
                <a:cubicBezTo>
                  <a:pt x="4577" y="4446"/>
                  <a:pt x="4590" y="4481"/>
                  <a:pt x="4633" y="4493"/>
                </a:cubicBezTo>
                <a:cubicBezTo>
                  <a:pt x="4676" y="4504"/>
                  <a:pt x="4804" y="4427"/>
                  <a:pt x="4804" y="4427"/>
                </a:cubicBezTo>
                <a:cubicBezTo>
                  <a:pt x="4815" y="4421"/>
                  <a:pt x="4833" y="4419"/>
                  <a:pt x="4845" y="4423"/>
                </a:cubicBezTo>
                <a:lnTo>
                  <a:pt x="5075" y="4504"/>
                </a:lnTo>
                <a:cubicBezTo>
                  <a:pt x="5087" y="4508"/>
                  <a:pt x="5100" y="4521"/>
                  <a:pt x="5104" y="4532"/>
                </a:cubicBezTo>
                <a:cubicBezTo>
                  <a:pt x="5104" y="4532"/>
                  <a:pt x="5156" y="4673"/>
                  <a:pt x="5197" y="4691"/>
                </a:cubicBezTo>
                <a:cubicBezTo>
                  <a:pt x="5237" y="4709"/>
                  <a:pt x="5269" y="4689"/>
                  <a:pt x="5290" y="4650"/>
                </a:cubicBezTo>
                <a:cubicBezTo>
                  <a:pt x="5290" y="4650"/>
                  <a:pt x="5389" y="4493"/>
                  <a:pt x="5348" y="4303"/>
                </a:cubicBezTo>
                <a:cubicBezTo>
                  <a:pt x="5308" y="4114"/>
                  <a:pt x="5126" y="4172"/>
                  <a:pt x="5126" y="4172"/>
                </a:cubicBezTo>
                <a:cubicBezTo>
                  <a:pt x="5115" y="4176"/>
                  <a:pt x="5096" y="4175"/>
                  <a:pt x="5084" y="4171"/>
                </a:cubicBezTo>
                <a:lnTo>
                  <a:pt x="5046" y="4158"/>
                </a:lnTo>
                <a:cubicBezTo>
                  <a:pt x="5034" y="4154"/>
                  <a:pt x="5019" y="4142"/>
                  <a:pt x="5012" y="4132"/>
                </a:cubicBezTo>
                <a:cubicBezTo>
                  <a:pt x="5012" y="4132"/>
                  <a:pt x="4907" y="3972"/>
                  <a:pt x="4757" y="4095"/>
                </a:cubicBezTo>
                <a:cubicBezTo>
                  <a:pt x="4607" y="4218"/>
                  <a:pt x="4585" y="4402"/>
                  <a:pt x="4585" y="4402"/>
                </a:cubicBezTo>
                <a:close/>
                <a:moveTo>
                  <a:pt x="4971" y="3788"/>
                </a:moveTo>
                <a:cubicBezTo>
                  <a:pt x="5001" y="3788"/>
                  <a:pt x="5030" y="3791"/>
                  <a:pt x="5059" y="3795"/>
                </a:cubicBezTo>
                <a:lnTo>
                  <a:pt x="5254" y="2656"/>
                </a:lnTo>
                <a:lnTo>
                  <a:pt x="4192" y="3100"/>
                </a:lnTo>
                <a:lnTo>
                  <a:pt x="4638" y="3892"/>
                </a:lnTo>
                <a:cubicBezTo>
                  <a:pt x="4732" y="3827"/>
                  <a:pt x="4847" y="3788"/>
                  <a:pt x="4971" y="3788"/>
                </a:cubicBezTo>
                <a:close/>
                <a:moveTo>
                  <a:pt x="5093" y="3801"/>
                </a:moveTo>
                <a:cubicBezTo>
                  <a:pt x="5206" y="3825"/>
                  <a:pt x="5306" y="3881"/>
                  <a:pt x="5384" y="3960"/>
                </a:cubicBezTo>
                <a:cubicBezTo>
                  <a:pt x="5462" y="4037"/>
                  <a:pt x="5517" y="4136"/>
                  <a:pt x="5542" y="4247"/>
                </a:cubicBezTo>
                <a:lnTo>
                  <a:pt x="5964" y="4083"/>
                </a:lnTo>
                <a:lnTo>
                  <a:pt x="7066" y="1961"/>
                </a:lnTo>
                <a:cubicBezTo>
                  <a:pt x="7049" y="1949"/>
                  <a:pt x="7034" y="1933"/>
                  <a:pt x="7024" y="1915"/>
                </a:cubicBezTo>
                <a:lnTo>
                  <a:pt x="5292" y="2640"/>
                </a:lnTo>
                <a:lnTo>
                  <a:pt x="5093" y="3801"/>
                </a:lnTo>
                <a:close/>
                <a:moveTo>
                  <a:pt x="4429" y="4152"/>
                </a:moveTo>
                <a:cubicBezTo>
                  <a:pt x="4459" y="4079"/>
                  <a:pt x="4502" y="4014"/>
                  <a:pt x="4557" y="3960"/>
                </a:cubicBezTo>
                <a:cubicBezTo>
                  <a:pt x="4573" y="3943"/>
                  <a:pt x="4591" y="3928"/>
                  <a:pt x="4609" y="3913"/>
                </a:cubicBezTo>
                <a:lnTo>
                  <a:pt x="4159" y="3114"/>
                </a:lnTo>
                <a:lnTo>
                  <a:pt x="3848" y="3244"/>
                </a:lnTo>
                <a:cubicBezTo>
                  <a:pt x="3883" y="3319"/>
                  <a:pt x="3903" y="3403"/>
                  <a:pt x="3903" y="3491"/>
                </a:cubicBezTo>
                <a:cubicBezTo>
                  <a:pt x="3903" y="3598"/>
                  <a:pt x="3874" y="3698"/>
                  <a:pt x="3824" y="3784"/>
                </a:cubicBezTo>
                <a:lnTo>
                  <a:pt x="4429" y="4152"/>
                </a:lnTo>
                <a:close/>
                <a:moveTo>
                  <a:pt x="5334" y="4009"/>
                </a:moveTo>
                <a:cubicBezTo>
                  <a:pt x="5241" y="3916"/>
                  <a:pt x="5113" y="3859"/>
                  <a:pt x="4971" y="3859"/>
                </a:cubicBezTo>
                <a:cubicBezTo>
                  <a:pt x="4828" y="3859"/>
                  <a:pt x="4700" y="3916"/>
                  <a:pt x="4607" y="4009"/>
                </a:cubicBezTo>
                <a:cubicBezTo>
                  <a:pt x="4514" y="4103"/>
                  <a:pt x="4456" y="4231"/>
                  <a:pt x="4456" y="4373"/>
                </a:cubicBezTo>
                <a:cubicBezTo>
                  <a:pt x="4456" y="4515"/>
                  <a:pt x="4514" y="4644"/>
                  <a:pt x="4607" y="4737"/>
                </a:cubicBezTo>
                <a:cubicBezTo>
                  <a:pt x="4700" y="4830"/>
                  <a:pt x="4828" y="4888"/>
                  <a:pt x="4971" y="4888"/>
                </a:cubicBezTo>
                <a:cubicBezTo>
                  <a:pt x="5113" y="4888"/>
                  <a:pt x="5241" y="4830"/>
                  <a:pt x="5334" y="4737"/>
                </a:cubicBezTo>
                <a:cubicBezTo>
                  <a:pt x="5427" y="4644"/>
                  <a:pt x="5485" y="4515"/>
                  <a:pt x="5485" y="4373"/>
                </a:cubicBezTo>
                <a:cubicBezTo>
                  <a:pt x="5485" y="4231"/>
                  <a:pt x="5427" y="4103"/>
                  <a:pt x="5334" y="4009"/>
                </a:cubicBezTo>
                <a:close/>
                <a:moveTo>
                  <a:pt x="1419" y="3294"/>
                </a:moveTo>
                <a:cubicBezTo>
                  <a:pt x="1419" y="3316"/>
                  <a:pt x="1419" y="3334"/>
                  <a:pt x="1391" y="3334"/>
                </a:cubicBezTo>
                <a:lnTo>
                  <a:pt x="1051" y="3334"/>
                </a:lnTo>
                <a:cubicBezTo>
                  <a:pt x="1024" y="3334"/>
                  <a:pt x="1023" y="3316"/>
                  <a:pt x="1023" y="3294"/>
                </a:cubicBezTo>
                <a:lnTo>
                  <a:pt x="1023" y="2975"/>
                </a:lnTo>
                <a:cubicBezTo>
                  <a:pt x="1023" y="2953"/>
                  <a:pt x="1024" y="2936"/>
                  <a:pt x="1051" y="2936"/>
                </a:cubicBezTo>
                <a:lnTo>
                  <a:pt x="1400" y="2936"/>
                </a:lnTo>
                <a:cubicBezTo>
                  <a:pt x="1428" y="2936"/>
                  <a:pt x="1419" y="2953"/>
                  <a:pt x="1419" y="2975"/>
                </a:cubicBezTo>
                <a:lnTo>
                  <a:pt x="1419" y="3294"/>
                </a:lnTo>
                <a:close/>
                <a:moveTo>
                  <a:pt x="1411" y="2880"/>
                </a:moveTo>
                <a:lnTo>
                  <a:pt x="1031" y="2880"/>
                </a:lnTo>
                <a:cubicBezTo>
                  <a:pt x="996" y="2880"/>
                  <a:pt x="968" y="2902"/>
                  <a:pt x="968" y="2930"/>
                </a:cubicBezTo>
                <a:lnTo>
                  <a:pt x="968" y="3339"/>
                </a:lnTo>
                <a:cubicBezTo>
                  <a:pt x="968" y="3367"/>
                  <a:pt x="996" y="3389"/>
                  <a:pt x="1031" y="3389"/>
                </a:cubicBezTo>
                <a:lnTo>
                  <a:pt x="1411" y="3389"/>
                </a:lnTo>
                <a:cubicBezTo>
                  <a:pt x="1446" y="3389"/>
                  <a:pt x="1475" y="3367"/>
                  <a:pt x="1475" y="3339"/>
                </a:cubicBezTo>
                <a:lnTo>
                  <a:pt x="1475" y="2930"/>
                </a:lnTo>
                <a:cubicBezTo>
                  <a:pt x="1475" y="2902"/>
                  <a:pt x="1446" y="2880"/>
                  <a:pt x="1411" y="2880"/>
                </a:cubicBezTo>
                <a:close/>
                <a:moveTo>
                  <a:pt x="1433" y="2861"/>
                </a:moveTo>
                <a:cubicBezTo>
                  <a:pt x="1418" y="2756"/>
                  <a:pt x="1396" y="2728"/>
                  <a:pt x="1367" y="2707"/>
                </a:cubicBezTo>
                <a:lnTo>
                  <a:pt x="1084" y="2707"/>
                </a:lnTo>
                <a:cubicBezTo>
                  <a:pt x="1028" y="2728"/>
                  <a:pt x="1009" y="2861"/>
                  <a:pt x="1009" y="2861"/>
                </a:cubicBezTo>
                <a:lnTo>
                  <a:pt x="1433" y="2861"/>
                </a:lnTo>
                <a:close/>
                <a:moveTo>
                  <a:pt x="1433" y="3408"/>
                </a:moveTo>
                <a:cubicBezTo>
                  <a:pt x="1418" y="3513"/>
                  <a:pt x="1396" y="3541"/>
                  <a:pt x="1367" y="3562"/>
                </a:cubicBezTo>
                <a:lnTo>
                  <a:pt x="1084" y="3562"/>
                </a:lnTo>
                <a:cubicBezTo>
                  <a:pt x="1028" y="3541"/>
                  <a:pt x="1009" y="3408"/>
                  <a:pt x="1009" y="3408"/>
                </a:cubicBezTo>
                <a:lnTo>
                  <a:pt x="1433" y="3408"/>
                </a:lnTo>
                <a:close/>
                <a:moveTo>
                  <a:pt x="1227" y="3044"/>
                </a:moveTo>
                <a:cubicBezTo>
                  <a:pt x="1227" y="3070"/>
                  <a:pt x="1205" y="3090"/>
                  <a:pt x="1178" y="3090"/>
                </a:cubicBezTo>
                <a:cubicBezTo>
                  <a:pt x="1151" y="3090"/>
                  <a:pt x="1129" y="3070"/>
                  <a:pt x="1129" y="3044"/>
                </a:cubicBezTo>
                <a:cubicBezTo>
                  <a:pt x="1129" y="3019"/>
                  <a:pt x="1151" y="2999"/>
                  <a:pt x="1178" y="2999"/>
                </a:cubicBezTo>
                <a:cubicBezTo>
                  <a:pt x="1205" y="2999"/>
                  <a:pt x="1227" y="3019"/>
                  <a:pt x="1227" y="3044"/>
                </a:cubicBezTo>
                <a:close/>
                <a:moveTo>
                  <a:pt x="1331" y="3044"/>
                </a:moveTo>
                <a:cubicBezTo>
                  <a:pt x="1331" y="3070"/>
                  <a:pt x="1309" y="3090"/>
                  <a:pt x="1282" y="3090"/>
                </a:cubicBezTo>
                <a:cubicBezTo>
                  <a:pt x="1255" y="3090"/>
                  <a:pt x="1233" y="3070"/>
                  <a:pt x="1233" y="3044"/>
                </a:cubicBezTo>
                <a:cubicBezTo>
                  <a:pt x="1233" y="3019"/>
                  <a:pt x="1255" y="2999"/>
                  <a:pt x="1282" y="2999"/>
                </a:cubicBezTo>
                <a:cubicBezTo>
                  <a:pt x="1309" y="2999"/>
                  <a:pt x="1331" y="3019"/>
                  <a:pt x="1331" y="3044"/>
                </a:cubicBezTo>
                <a:close/>
                <a:moveTo>
                  <a:pt x="1227" y="3239"/>
                </a:moveTo>
                <a:cubicBezTo>
                  <a:pt x="1227" y="3264"/>
                  <a:pt x="1205" y="3285"/>
                  <a:pt x="1178" y="3285"/>
                </a:cubicBezTo>
                <a:cubicBezTo>
                  <a:pt x="1151" y="3285"/>
                  <a:pt x="1129" y="3264"/>
                  <a:pt x="1129" y="3239"/>
                </a:cubicBezTo>
                <a:cubicBezTo>
                  <a:pt x="1129" y="3214"/>
                  <a:pt x="1151" y="3193"/>
                  <a:pt x="1178" y="3193"/>
                </a:cubicBezTo>
                <a:cubicBezTo>
                  <a:pt x="1205" y="3193"/>
                  <a:pt x="1227" y="3214"/>
                  <a:pt x="1227" y="3239"/>
                </a:cubicBezTo>
                <a:close/>
                <a:moveTo>
                  <a:pt x="1331" y="3239"/>
                </a:moveTo>
                <a:cubicBezTo>
                  <a:pt x="1331" y="3264"/>
                  <a:pt x="1309" y="3285"/>
                  <a:pt x="1282" y="3285"/>
                </a:cubicBezTo>
                <a:cubicBezTo>
                  <a:pt x="1255" y="3285"/>
                  <a:pt x="1233" y="3264"/>
                  <a:pt x="1233" y="3239"/>
                </a:cubicBezTo>
                <a:cubicBezTo>
                  <a:pt x="1233" y="3214"/>
                  <a:pt x="1255" y="3193"/>
                  <a:pt x="1282" y="3193"/>
                </a:cubicBezTo>
                <a:cubicBezTo>
                  <a:pt x="1309" y="3193"/>
                  <a:pt x="1331" y="3214"/>
                  <a:pt x="1331" y="3239"/>
                </a:cubicBezTo>
                <a:close/>
                <a:moveTo>
                  <a:pt x="1172" y="3142"/>
                </a:moveTo>
                <a:cubicBezTo>
                  <a:pt x="1172" y="3167"/>
                  <a:pt x="1150" y="3188"/>
                  <a:pt x="1122" y="3188"/>
                </a:cubicBezTo>
                <a:cubicBezTo>
                  <a:pt x="1095" y="3188"/>
                  <a:pt x="1073" y="3167"/>
                  <a:pt x="1073" y="3142"/>
                </a:cubicBezTo>
                <a:cubicBezTo>
                  <a:pt x="1073" y="3116"/>
                  <a:pt x="1095" y="3096"/>
                  <a:pt x="1122" y="3096"/>
                </a:cubicBezTo>
                <a:cubicBezTo>
                  <a:pt x="1150" y="3096"/>
                  <a:pt x="1172" y="3116"/>
                  <a:pt x="1172" y="3142"/>
                </a:cubicBezTo>
                <a:close/>
                <a:moveTo>
                  <a:pt x="1276" y="3142"/>
                </a:moveTo>
                <a:cubicBezTo>
                  <a:pt x="1276" y="3167"/>
                  <a:pt x="1254" y="3188"/>
                  <a:pt x="1227" y="3188"/>
                </a:cubicBezTo>
                <a:cubicBezTo>
                  <a:pt x="1200" y="3188"/>
                  <a:pt x="1178" y="3167"/>
                  <a:pt x="1178" y="3142"/>
                </a:cubicBezTo>
                <a:cubicBezTo>
                  <a:pt x="1178" y="3116"/>
                  <a:pt x="1200" y="3096"/>
                  <a:pt x="1227" y="3096"/>
                </a:cubicBezTo>
                <a:cubicBezTo>
                  <a:pt x="1254" y="3096"/>
                  <a:pt x="1276" y="3116"/>
                  <a:pt x="1276" y="3142"/>
                </a:cubicBezTo>
                <a:close/>
                <a:moveTo>
                  <a:pt x="1386" y="3142"/>
                </a:moveTo>
                <a:cubicBezTo>
                  <a:pt x="1386" y="3167"/>
                  <a:pt x="1364" y="3188"/>
                  <a:pt x="1337" y="3188"/>
                </a:cubicBezTo>
                <a:cubicBezTo>
                  <a:pt x="1310" y="3188"/>
                  <a:pt x="1288" y="3167"/>
                  <a:pt x="1288" y="3142"/>
                </a:cubicBezTo>
                <a:cubicBezTo>
                  <a:pt x="1288" y="3116"/>
                  <a:pt x="1310" y="3096"/>
                  <a:pt x="1337" y="3096"/>
                </a:cubicBezTo>
                <a:cubicBezTo>
                  <a:pt x="1364" y="3096"/>
                  <a:pt x="1386" y="3116"/>
                  <a:pt x="1386" y="3142"/>
                </a:cubicBezTo>
                <a:close/>
                <a:moveTo>
                  <a:pt x="1539" y="3626"/>
                </a:moveTo>
                <a:lnTo>
                  <a:pt x="2336" y="4925"/>
                </a:lnTo>
                <a:cubicBezTo>
                  <a:pt x="2347" y="4919"/>
                  <a:pt x="2359" y="4916"/>
                  <a:pt x="2372" y="4914"/>
                </a:cubicBezTo>
                <a:lnTo>
                  <a:pt x="2303" y="2866"/>
                </a:lnTo>
                <a:lnTo>
                  <a:pt x="1783" y="2531"/>
                </a:lnTo>
                <a:lnTo>
                  <a:pt x="1632" y="2718"/>
                </a:lnTo>
                <a:lnTo>
                  <a:pt x="1635" y="2721"/>
                </a:lnTo>
                <a:cubicBezTo>
                  <a:pt x="1741" y="2827"/>
                  <a:pt x="1806" y="2973"/>
                  <a:pt x="1806" y="3135"/>
                </a:cubicBezTo>
                <a:cubicBezTo>
                  <a:pt x="1806" y="3296"/>
                  <a:pt x="1741" y="3442"/>
                  <a:pt x="1635" y="3548"/>
                </a:cubicBezTo>
                <a:cubicBezTo>
                  <a:pt x="1606" y="3577"/>
                  <a:pt x="1574" y="3603"/>
                  <a:pt x="1539" y="3626"/>
                </a:cubicBezTo>
                <a:close/>
                <a:moveTo>
                  <a:pt x="1607" y="2694"/>
                </a:moveTo>
                <a:lnTo>
                  <a:pt x="1754" y="2512"/>
                </a:lnTo>
                <a:lnTo>
                  <a:pt x="1545" y="2378"/>
                </a:lnTo>
                <a:cubicBezTo>
                  <a:pt x="1519" y="2409"/>
                  <a:pt x="1480" y="2429"/>
                  <a:pt x="1437" y="2429"/>
                </a:cubicBezTo>
                <a:cubicBezTo>
                  <a:pt x="1432" y="2429"/>
                  <a:pt x="1428" y="2429"/>
                  <a:pt x="1423" y="2429"/>
                </a:cubicBezTo>
                <a:lnTo>
                  <a:pt x="1391" y="2575"/>
                </a:lnTo>
                <a:cubicBezTo>
                  <a:pt x="1472" y="2599"/>
                  <a:pt x="1545" y="2640"/>
                  <a:pt x="1607" y="2694"/>
                </a:cubicBezTo>
                <a:close/>
                <a:moveTo>
                  <a:pt x="1585" y="2771"/>
                </a:moveTo>
                <a:cubicBezTo>
                  <a:pt x="1492" y="2678"/>
                  <a:pt x="1363" y="2620"/>
                  <a:pt x="1221" y="2620"/>
                </a:cubicBezTo>
                <a:cubicBezTo>
                  <a:pt x="1079" y="2620"/>
                  <a:pt x="951" y="2678"/>
                  <a:pt x="857" y="2771"/>
                </a:cubicBezTo>
                <a:cubicBezTo>
                  <a:pt x="764" y="2864"/>
                  <a:pt x="707" y="2992"/>
                  <a:pt x="707" y="3135"/>
                </a:cubicBezTo>
                <a:cubicBezTo>
                  <a:pt x="707" y="3277"/>
                  <a:pt x="764" y="3405"/>
                  <a:pt x="857" y="3498"/>
                </a:cubicBezTo>
                <a:cubicBezTo>
                  <a:pt x="951" y="3591"/>
                  <a:pt x="1079" y="3649"/>
                  <a:pt x="1221" y="3649"/>
                </a:cubicBezTo>
                <a:cubicBezTo>
                  <a:pt x="1363" y="3649"/>
                  <a:pt x="1492" y="3591"/>
                  <a:pt x="1585" y="3498"/>
                </a:cubicBezTo>
                <a:cubicBezTo>
                  <a:pt x="1678" y="3405"/>
                  <a:pt x="1736" y="3277"/>
                  <a:pt x="1736" y="3135"/>
                </a:cubicBezTo>
                <a:cubicBezTo>
                  <a:pt x="1736" y="2992"/>
                  <a:pt x="1678" y="2864"/>
                  <a:pt x="1585" y="2771"/>
                </a:cubicBezTo>
                <a:close/>
                <a:moveTo>
                  <a:pt x="2887" y="3427"/>
                </a:moveTo>
                <a:lnTo>
                  <a:pt x="2888" y="3451"/>
                </a:lnTo>
                <a:lnTo>
                  <a:pt x="2888" y="3451"/>
                </a:lnTo>
                <a:lnTo>
                  <a:pt x="2887" y="3427"/>
                </a:lnTo>
                <a:close/>
                <a:moveTo>
                  <a:pt x="3367" y="3461"/>
                </a:moveTo>
                <a:cubicBezTo>
                  <a:pt x="3367" y="3474"/>
                  <a:pt x="3369" y="3488"/>
                  <a:pt x="3372" y="3505"/>
                </a:cubicBezTo>
                <a:cubicBezTo>
                  <a:pt x="3381" y="3553"/>
                  <a:pt x="3440" y="3585"/>
                  <a:pt x="3535" y="3593"/>
                </a:cubicBezTo>
                <a:cubicBezTo>
                  <a:pt x="3554" y="3595"/>
                  <a:pt x="3574" y="3595"/>
                  <a:pt x="3595" y="3595"/>
                </a:cubicBezTo>
                <a:cubicBezTo>
                  <a:pt x="3703" y="3593"/>
                  <a:pt x="3730" y="3534"/>
                  <a:pt x="3729" y="3499"/>
                </a:cubicBezTo>
                <a:lnTo>
                  <a:pt x="3727" y="3454"/>
                </a:lnTo>
                <a:lnTo>
                  <a:pt x="3721" y="3454"/>
                </a:lnTo>
                <a:lnTo>
                  <a:pt x="3722" y="3444"/>
                </a:lnTo>
                <a:cubicBezTo>
                  <a:pt x="3723" y="3431"/>
                  <a:pt x="3721" y="3418"/>
                  <a:pt x="3716" y="3405"/>
                </a:cubicBezTo>
                <a:lnTo>
                  <a:pt x="3715" y="3402"/>
                </a:lnTo>
                <a:cubicBezTo>
                  <a:pt x="3703" y="3395"/>
                  <a:pt x="3676" y="3384"/>
                  <a:pt x="3622" y="3380"/>
                </a:cubicBezTo>
                <a:cubicBezTo>
                  <a:pt x="3598" y="3378"/>
                  <a:pt x="3570" y="3377"/>
                  <a:pt x="3540" y="3377"/>
                </a:cubicBezTo>
                <a:cubicBezTo>
                  <a:pt x="3466" y="3379"/>
                  <a:pt x="3421" y="3387"/>
                  <a:pt x="3395" y="3404"/>
                </a:cubicBezTo>
                <a:lnTo>
                  <a:pt x="3389" y="3413"/>
                </a:lnTo>
                <a:cubicBezTo>
                  <a:pt x="3381" y="3426"/>
                  <a:pt x="3377" y="3439"/>
                  <a:pt x="3376" y="3452"/>
                </a:cubicBezTo>
                <a:lnTo>
                  <a:pt x="3375" y="3460"/>
                </a:lnTo>
                <a:lnTo>
                  <a:pt x="3367" y="3461"/>
                </a:lnTo>
                <a:close/>
                <a:moveTo>
                  <a:pt x="2914" y="3512"/>
                </a:moveTo>
                <a:lnTo>
                  <a:pt x="2914" y="3514"/>
                </a:lnTo>
                <a:cubicBezTo>
                  <a:pt x="2915" y="3551"/>
                  <a:pt x="2945" y="3597"/>
                  <a:pt x="3026" y="3604"/>
                </a:cubicBezTo>
                <a:cubicBezTo>
                  <a:pt x="3035" y="3605"/>
                  <a:pt x="3044" y="3605"/>
                  <a:pt x="3053" y="3605"/>
                </a:cubicBezTo>
                <a:cubicBezTo>
                  <a:pt x="3183" y="3603"/>
                  <a:pt x="3264" y="3566"/>
                  <a:pt x="3270" y="3507"/>
                </a:cubicBezTo>
                <a:cubicBezTo>
                  <a:pt x="3272" y="3492"/>
                  <a:pt x="3273" y="3477"/>
                  <a:pt x="3273" y="3462"/>
                </a:cubicBezTo>
                <a:lnTo>
                  <a:pt x="3260" y="3462"/>
                </a:lnTo>
                <a:lnTo>
                  <a:pt x="3235" y="3403"/>
                </a:lnTo>
                <a:cubicBezTo>
                  <a:pt x="3218" y="3395"/>
                  <a:pt x="3195" y="3390"/>
                  <a:pt x="3164" y="3387"/>
                </a:cubicBezTo>
                <a:cubicBezTo>
                  <a:pt x="3144" y="3386"/>
                  <a:pt x="3122" y="3385"/>
                  <a:pt x="3095" y="3386"/>
                </a:cubicBezTo>
                <a:cubicBezTo>
                  <a:pt x="3002" y="3387"/>
                  <a:pt x="2956" y="3400"/>
                  <a:pt x="2933" y="3410"/>
                </a:cubicBezTo>
                <a:lnTo>
                  <a:pt x="2929" y="3420"/>
                </a:lnTo>
                <a:cubicBezTo>
                  <a:pt x="2928" y="3424"/>
                  <a:pt x="2927" y="3428"/>
                  <a:pt x="2926" y="3432"/>
                </a:cubicBezTo>
                <a:lnTo>
                  <a:pt x="3108" y="3432"/>
                </a:lnTo>
                <a:lnTo>
                  <a:pt x="3108" y="3512"/>
                </a:lnTo>
                <a:lnTo>
                  <a:pt x="2914" y="3512"/>
                </a:lnTo>
                <a:close/>
                <a:moveTo>
                  <a:pt x="3048" y="3623"/>
                </a:moveTo>
                <a:cubicBezTo>
                  <a:pt x="3040" y="3623"/>
                  <a:pt x="3031" y="3623"/>
                  <a:pt x="3024" y="3622"/>
                </a:cubicBezTo>
                <a:cubicBezTo>
                  <a:pt x="2927" y="3614"/>
                  <a:pt x="2891" y="3559"/>
                  <a:pt x="2890" y="3514"/>
                </a:cubicBezTo>
                <a:lnTo>
                  <a:pt x="2889" y="3469"/>
                </a:lnTo>
                <a:lnTo>
                  <a:pt x="2865" y="3470"/>
                </a:lnTo>
                <a:lnTo>
                  <a:pt x="2863" y="3410"/>
                </a:lnTo>
                <a:lnTo>
                  <a:pt x="2898" y="3409"/>
                </a:lnTo>
                <a:cubicBezTo>
                  <a:pt x="2916" y="3393"/>
                  <a:pt x="2965" y="3370"/>
                  <a:pt x="3094" y="3368"/>
                </a:cubicBezTo>
                <a:cubicBezTo>
                  <a:pt x="3122" y="3367"/>
                  <a:pt x="3146" y="3368"/>
                  <a:pt x="3167" y="3370"/>
                </a:cubicBezTo>
                <a:cubicBezTo>
                  <a:pt x="3215" y="3374"/>
                  <a:pt x="3249" y="3384"/>
                  <a:pt x="3270" y="3402"/>
                </a:cubicBezTo>
                <a:lnTo>
                  <a:pt x="3366" y="3400"/>
                </a:lnTo>
                <a:cubicBezTo>
                  <a:pt x="3367" y="3400"/>
                  <a:pt x="3368" y="3399"/>
                  <a:pt x="3369" y="3398"/>
                </a:cubicBezTo>
                <a:cubicBezTo>
                  <a:pt x="3397" y="3373"/>
                  <a:pt x="3450" y="3361"/>
                  <a:pt x="3539" y="3359"/>
                </a:cubicBezTo>
                <a:cubicBezTo>
                  <a:pt x="3571" y="3359"/>
                  <a:pt x="3599" y="3360"/>
                  <a:pt x="3624" y="3362"/>
                </a:cubicBezTo>
                <a:cubicBezTo>
                  <a:pt x="3691" y="3367"/>
                  <a:pt x="3723" y="3382"/>
                  <a:pt x="3738" y="3394"/>
                </a:cubicBezTo>
                <a:lnTo>
                  <a:pt x="3771" y="3393"/>
                </a:lnTo>
                <a:lnTo>
                  <a:pt x="3773" y="3453"/>
                </a:lnTo>
                <a:lnTo>
                  <a:pt x="3751" y="3453"/>
                </a:lnTo>
                <a:lnTo>
                  <a:pt x="3753" y="3499"/>
                </a:lnTo>
                <a:cubicBezTo>
                  <a:pt x="3754" y="3540"/>
                  <a:pt x="3722" y="3611"/>
                  <a:pt x="3596" y="3613"/>
                </a:cubicBezTo>
                <a:cubicBezTo>
                  <a:pt x="3574" y="3613"/>
                  <a:pt x="3553" y="3613"/>
                  <a:pt x="3533" y="3611"/>
                </a:cubicBezTo>
                <a:cubicBezTo>
                  <a:pt x="3426" y="3602"/>
                  <a:pt x="3359" y="3564"/>
                  <a:pt x="3349" y="3508"/>
                </a:cubicBezTo>
                <a:cubicBezTo>
                  <a:pt x="3346" y="3490"/>
                  <a:pt x="3344" y="3475"/>
                  <a:pt x="3344" y="3461"/>
                </a:cubicBezTo>
                <a:lnTo>
                  <a:pt x="3296" y="3462"/>
                </a:lnTo>
                <a:cubicBezTo>
                  <a:pt x="3297" y="3477"/>
                  <a:pt x="3296" y="3493"/>
                  <a:pt x="3294" y="3509"/>
                </a:cubicBezTo>
                <a:cubicBezTo>
                  <a:pt x="3286" y="3578"/>
                  <a:pt x="3196" y="3620"/>
                  <a:pt x="3054" y="3623"/>
                </a:cubicBezTo>
                <a:cubicBezTo>
                  <a:pt x="3052" y="3623"/>
                  <a:pt x="3050" y="3623"/>
                  <a:pt x="3048" y="3623"/>
                </a:cubicBezTo>
                <a:close/>
                <a:moveTo>
                  <a:pt x="3318" y="2906"/>
                </a:moveTo>
                <a:cubicBezTo>
                  <a:pt x="3381" y="2906"/>
                  <a:pt x="3442" y="2916"/>
                  <a:pt x="3499" y="2935"/>
                </a:cubicBezTo>
                <a:lnTo>
                  <a:pt x="3770" y="2423"/>
                </a:lnTo>
                <a:lnTo>
                  <a:pt x="3228" y="1461"/>
                </a:lnTo>
                <a:cubicBezTo>
                  <a:pt x="3212" y="1468"/>
                  <a:pt x="3193" y="1472"/>
                  <a:pt x="3174" y="1472"/>
                </a:cubicBezTo>
                <a:cubicBezTo>
                  <a:pt x="3130" y="1472"/>
                  <a:pt x="3090" y="1451"/>
                  <a:pt x="3064" y="1419"/>
                </a:cubicBezTo>
                <a:cubicBezTo>
                  <a:pt x="2848" y="1553"/>
                  <a:pt x="2632" y="1686"/>
                  <a:pt x="2417" y="1820"/>
                </a:cubicBezTo>
                <a:cubicBezTo>
                  <a:pt x="2425" y="1838"/>
                  <a:pt x="2430" y="1858"/>
                  <a:pt x="2430" y="1880"/>
                </a:cubicBezTo>
                <a:cubicBezTo>
                  <a:pt x="2430" y="1950"/>
                  <a:pt x="2378" y="2009"/>
                  <a:pt x="2310" y="2020"/>
                </a:cubicBezTo>
                <a:lnTo>
                  <a:pt x="2338" y="2846"/>
                </a:lnTo>
                <a:lnTo>
                  <a:pt x="2833" y="3165"/>
                </a:lnTo>
                <a:cubicBezTo>
                  <a:pt x="2854" y="3133"/>
                  <a:pt x="2878" y="3104"/>
                  <a:pt x="2904" y="3078"/>
                </a:cubicBezTo>
                <a:cubicBezTo>
                  <a:pt x="3010" y="2972"/>
                  <a:pt x="3157" y="2906"/>
                  <a:pt x="3318" y="2906"/>
                </a:cubicBezTo>
                <a:close/>
                <a:moveTo>
                  <a:pt x="3532" y="2947"/>
                </a:moveTo>
                <a:cubicBezTo>
                  <a:pt x="3608" y="2976"/>
                  <a:pt x="3675" y="3021"/>
                  <a:pt x="3732" y="3078"/>
                </a:cubicBezTo>
                <a:cubicBezTo>
                  <a:pt x="3771" y="3117"/>
                  <a:pt x="3805" y="3163"/>
                  <a:pt x="3832" y="3213"/>
                </a:cubicBezTo>
                <a:lnTo>
                  <a:pt x="4142" y="3083"/>
                </a:lnTo>
                <a:lnTo>
                  <a:pt x="3791" y="2460"/>
                </a:lnTo>
                <a:lnTo>
                  <a:pt x="3532" y="2947"/>
                </a:lnTo>
                <a:close/>
                <a:moveTo>
                  <a:pt x="2959" y="3953"/>
                </a:moveTo>
                <a:cubicBezTo>
                  <a:pt x="2940" y="3938"/>
                  <a:pt x="2921" y="3922"/>
                  <a:pt x="2904" y="3905"/>
                </a:cubicBezTo>
                <a:cubicBezTo>
                  <a:pt x="2799" y="3799"/>
                  <a:pt x="2733" y="3653"/>
                  <a:pt x="2733" y="3491"/>
                </a:cubicBezTo>
                <a:cubicBezTo>
                  <a:pt x="2733" y="3383"/>
                  <a:pt x="2763" y="3281"/>
                  <a:pt x="2814" y="3194"/>
                </a:cubicBezTo>
                <a:lnTo>
                  <a:pt x="2339" y="2889"/>
                </a:lnTo>
                <a:lnTo>
                  <a:pt x="2407" y="4913"/>
                </a:lnTo>
                <a:cubicBezTo>
                  <a:pt x="2420" y="4914"/>
                  <a:pt x="2433" y="4917"/>
                  <a:pt x="2445" y="4921"/>
                </a:cubicBezTo>
                <a:lnTo>
                  <a:pt x="2959" y="3953"/>
                </a:lnTo>
                <a:close/>
                <a:moveTo>
                  <a:pt x="3682" y="3127"/>
                </a:moveTo>
                <a:cubicBezTo>
                  <a:pt x="3589" y="3034"/>
                  <a:pt x="3460" y="2977"/>
                  <a:pt x="3318" y="2977"/>
                </a:cubicBezTo>
                <a:cubicBezTo>
                  <a:pt x="3176" y="2977"/>
                  <a:pt x="3047" y="3034"/>
                  <a:pt x="2954" y="3127"/>
                </a:cubicBezTo>
                <a:cubicBezTo>
                  <a:pt x="2861" y="3220"/>
                  <a:pt x="2804" y="3349"/>
                  <a:pt x="2804" y="3491"/>
                </a:cubicBezTo>
                <a:cubicBezTo>
                  <a:pt x="2804" y="3633"/>
                  <a:pt x="2861" y="3762"/>
                  <a:pt x="2954" y="3855"/>
                </a:cubicBezTo>
                <a:cubicBezTo>
                  <a:pt x="3047" y="3948"/>
                  <a:pt x="3176" y="4006"/>
                  <a:pt x="3318" y="4006"/>
                </a:cubicBezTo>
                <a:cubicBezTo>
                  <a:pt x="3460" y="4006"/>
                  <a:pt x="3589" y="3948"/>
                  <a:pt x="3682" y="3855"/>
                </a:cubicBezTo>
                <a:cubicBezTo>
                  <a:pt x="3775" y="3762"/>
                  <a:pt x="3832" y="3633"/>
                  <a:pt x="3832" y="3491"/>
                </a:cubicBezTo>
                <a:cubicBezTo>
                  <a:pt x="3832" y="3349"/>
                  <a:pt x="3775" y="3220"/>
                  <a:pt x="3682" y="3127"/>
                </a:cubicBezTo>
                <a:close/>
                <a:moveTo>
                  <a:pt x="7638" y="2863"/>
                </a:moveTo>
                <a:cubicBezTo>
                  <a:pt x="7800" y="2863"/>
                  <a:pt x="7946" y="2929"/>
                  <a:pt x="8052" y="3035"/>
                </a:cubicBezTo>
                <a:cubicBezTo>
                  <a:pt x="8158" y="3140"/>
                  <a:pt x="8223" y="3287"/>
                  <a:pt x="8223" y="3448"/>
                </a:cubicBezTo>
                <a:cubicBezTo>
                  <a:pt x="8223" y="3456"/>
                  <a:pt x="8223" y="3464"/>
                  <a:pt x="8223" y="3472"/>
                </a:cubicBezTo>
                <a:lnTo>
                  <a:pt x="11263" y="3628"/>
                </a:lnTo>
                <a:cubicBezTo>
                  <a:pt x="11264" y="3623"/>
                  <a:pt x="11265" y="3619"/>
                  <a:pt x="11266" y="3614"/>
                </a:cubicBezTo>
                <a:lnTo>
                  <a:pt x="7269" y="1915"/>
                </a:lnTo>
                <a:cubicBezTo>
                  <a:pt x="7254" y="1942"/>
                  <a:pt x="7231" y="1962"/>
                  <a:pt x="7203" y="1974"/>
                </a:cubicBezTo>
                <a:lnTo>
                  <a:pt x="7467" y="2889"/>
                </a:lnTo>
                <a:cubicBezTo>
                  <a:pt x="7521" y="2872"/>
                  <a:pt x="7579" y="2863"/>
                  <a:pt x="7638" y="2863"/>
                </a:cubicBezTo>
                <a:close/>
                <a:moveTo>
                  <a:pt x="7087" y="3645"/>
                </a:moveTo>
                <a:cubicBezTo>
                  <a:pt x="7065" y="3584"/>
                  <a:pt x="7053" y="3517"/>
                  <a:pt x="7053" y="3448"/>
                </a:cubicBezTo>
                <a:cubicBezTo>
                  <a:pt x="7053" y="3287"/>
                  <a:pt x="7119" y="3140"/>
                  <a:pt x="7225" y="3035"/>
                </a:cubicBezTo>
                <a:cubicBezTo>
                  <a:pt x="7284" y="2976"/>
                  <a:pt x="7355" y="2930"/>
                  <a:pt x="7434" y="2900"/>
                </a:cubicBezTo>
                <a:lnTo>
                  <a:pt x="7169" y="1984"/>
                </a:lnTo>
                <a:cubicBezTo>
                  <a:pt x="7162" y="1985"/>
                  <a:pt x="7154" y="1986"/>
                  <a:pt x="7147" y="1986"/>
                </a:cubicBezTo>
                <a:cubicBezTo>
                  <a:pt x="7129" y="1986"/>
                  <a:pt x="7113" y="1983"/>
                  <a:pt x="7097" y="1977"/>
                </a:cubicBezTo>
                <a:lnTo>
                  <a:pt x="6013" y="4064"/>
                </a:lnTo>
                <a:lnTo>
                  <a:pt x="7087" y="3645"/>
                </a:lnTo>
                <a:close/>
                <a:moveTo>
                  <a:pt x="8002" y="3084"/>
                </a:moveTo>
                <a:cubicBezTo>
                  <a:pt x="7909" y="2991"/>
                  <a:pt x="7780" y="2934"/>
                  <a:pt x="7638" y="2934"/>
                </a:cubicBezTo>
                <a:cubicBezTo>
                  <a:pt x="7496" y="2934"/>
                  <a:pt x="7368" y="2991"/>
                  <a:pt x="7275" y="3084"/>
                </a:cubicBezTo>
                <a:cubicBezTo>
                  <a:pt x="7181" y="3178"/>
                  <a:pt x="7124" y="3306"/>
                  <a:pt x="7124" y="3448"/>
                </a:cubicBezTo>
                <a:cubicBezTo>
                  <a:pt x="7124" y="3590"/>
                  <a:pt x="7181" y="3719"/>
                  <a:pt x="7275" y="3812"/>
                </a:cubicBezTo>
                <a:cubicBezTo>
                  <a:pt x="7368" y="3905"/>
                  <a:pt x="7496" y="3963"/>
                  <a:pt x="7638" y="3963"/>
                </a:cubicBezTo>
                <a:cubicBezTo>
                  <a:pt x="7780" y="3963"/>
                  <a:pt x="7909" y="3905"/>
                  <a:pt x="8002" y="3812"/>
                </a:cubicBezTo>
                <a:cubicBezTo>
                  <a:pt x="8095" y="3719"/>
                  <a:pt x="8153" y="3590"/>
                  <a:pt x="8153" y="3448"/>
                </a:cubicBezTo>
                <a:cubicBezTo>
                  <a:pt x="8153" y="3306"/>
                  <a:pt x="8095" y="3178"/>
                  <a:pt x="8002" y="3084"/>
                </a:cubicBezTo>
                <a:close/>
                <a:moveTo>
                  <a:pt x="7875" y="3566"/>
                </a:moveTo>
                <a:lnTo>
                  <a:pt x="7799" y="3567"/>
                </a:lnTo>
                <a:lnTo>
                  <a:pt x="7799" y="3487"/>
                </a:lnTo>
                <a:lnTo>
                  <a:pt x="7875" y="3486"/>
                </a:lnTo>
                <a:lnTo>
                  <a:pt x="7951" y="3486"/>
                </a:lnTo>
                <a:lnTo>
                  <a:pt x="7952" y="3566"/>
                </a:lnTo>
                <a:lnTo>
                  <a:pt x="7875" y="3566"/>
                </a:lnTo>
                <a:close/>
                <a:moveTo>
                  <a:pt x="7637" y="3318"/>
                </a:moveTo>
                <a:lnTo>
                  <a:pt x="7400" y="3320"/>
                </a:lnTo>
                <a:lnTo>
                  <a:pt x="7382" y="3320"/>
                </a:lnTo>
                <a:lnTo>
                  <a:pt x="7400" y="3284"/>
                </a:lnTo>
                <a:lnTo>
                  <a:pt x="7445" y="3195"/>
                </a:lnTo>
                <a:lnTo>
                  <a:pt x="7636" y="3194"/>
                </a:lnTo>
                <a:lnTo>
                  <a:pt x="7828" y="3193"/>
                </a:lnTo>
                <a:lnTo>
                  <a:pt x="7874" y="3282"/>
                </a:lnTo>
                <a:lnTo>
                  <a:pt x="7893" y="3317"/>
                </a:lnTo>
                <a:lnTo>
                  <a:pt x="7874" y="3317"/>
                </a:lnTo>
                <a:lnTo>
                  <a:pt x="7637" y="3318"/>
                </a:lnTo>
                <a:close/>
                <a:moveTo>
                  <a:pt x="7401" y="3569"/>
                </a:moveTo>
                <a:lnTo>
                  <a:pt x="7325" y="3569"/>
                </a:lnTo>
                <a:lnTo>
                  <a:pt x="7325" y="3489"/>
                </a:lnTo>
                <a:lnTo>
                  <a:pt x="7401" y="3489"/>
                </a:lnTo>
                <a:lnTo>
                  <a:pt x="7477" y="3488"/>
                </a:lnTo>
                <a:lnTo>
                  <a:pt x="7478" y="3568"/>
                </a:lnTo>
                <a:lnTo>
                  <a:pt x="7401" y="3569"/>
                </a:lnTo>
                <a:close/>
                <a:moveTo>
                  <a:pt x="8021" y="3626"/>
                </a:moveTo>
                <a:lnTo>
                  <a:pt x="8019" y="3363"/>
                </a:lnTo>
                <a:lnTo>
                  <a:pt x="7942" y="3279"/>
                </a:lnTo>
                <a:lnTo>
                  <a:pt x="7873" y="3144"/>
                </a:lnTo>
                <a:lnTo>
                  <a:pt x="7402" y="3144"/>
                </a:lnTo>
                <a:lnTo>
                  <a:pt x="7399" y="3153"/>
                </a:lnTo>
                <a:lnTo>
                  <a:pt x="7332" y="3282"/>
                </a:lnTo>
                <a:lnTo>
                  <a:pt x="7255" y="3367"/>
                </a:lnTo>
                <a:lnTo>
                  <a:pt x="7257" y="3612"/>
                </a:lnTo>
                <a:lnTo>
                  <a:pt x="7257" y="3631"/>
                </a:lnTo>
                <a:lnTo>
                  <a:pt x="7257" y="3718"/>
                </a:lnTo>
                <a:cubicBezTo>
                  <a:pt x="7257" y="3737"/>
                  <a:pt x="7273" y="3753"/>
                  <a:pt x="7292" y="3753"/>
                </a:cubicBezTo>
                <a:lnTo>
                  <a:pt x="7402" y="3752"/>
                </a:lnTo>
                <a:lnTo>
                  <a:pt x="7404" y="3752"/>
                </a:lnTo>
                <a:cubicBezTo>
                  <a:pt x="7423" y="3752"/>
                  <a:pt x="7439" y="3736"/>
                  <a:pt x="7439" y="3717"/>
                </a:cubicBezTo>
                <a:lnTo>
                  <a:pt x="7439" y="3630"/>
                </a:lnTo>
                <a:lnTo>
                  <a:pt x="7639" y="3628"/>
                </a:lnTo>
                <a:lnTo>
                  <a:pt x="7839" y="3627"/>
                </a:lnTo>
                <a:lnTo>
                  <a:pt x="7839" y="3715"/>
                </a:lnTo>
                <a:cubicBezTo>
                  <a:pt x="7839" y="3734"/>
                  <a:pt x="7855" y="3750"/>
                  <a:pt x="7874" y="3750"/>
                </a:cubicBezTo>
                <a:lnTo>
                  <a:pt x="7877" y="3750"/>
                </a:lnTo>
                <a:lnTo>
                  <a:pt x="7986" y="3749"/>
                </a:lnTo>
                <a:cubicBezTo>
                  <a:pt x="8006" y="3749"/>
                  <a:pt x="8021" y="3733"/>
                  <a:pt x="8021" y="3714"/>
                </a:cubicBezTo>
                <a:lnTo>
                  <a:pt x="8021" y="3626"/>
                </a:lnTo>
                <a:close/>
                <a:moveTo>
                  <a:pt x="5749" y="1608"/>
                </a:moveTo>
                <a:cubicBezTo>
                  <a:pt x="5756" y="1601"/>
                  <a:pt x="5762" y="1591"/>
                  <a:pt x="5762" y="1581"/>
                </a:cubicBezTo>
                <a:cubicBezTo>
                  <a:pt x="5762" y="1564"/>
                  <a:pt x="5750" y="1550"/>
                  <a:pt x="5738" y="1545"/>
                </a:cubicBezTo>
                <a:lnTo>
                  <a:pt x="5738" y="1334"/>
                </a:lnTo>
                <a:lnTo>
                  <a:pt x="5746" y="1330"/>
                </a:lnTo>
                <a:lnTo>
                  <a:pt x="5738" y="1327"/>
                </a:lnTo>
                <a:lnTo>
                  <a:pt x="5738" y="1324"/>
                </a:lnTo>
                <a:lnTo>
                  <a:pt x="5731" y="1324"/>
                </a:lnTo>
                <a:lnTo>
                  <a:pt x="5373" y="1165"/>
                </a:lnTo>
                <a:lnTo>
                  <a:pt x="4991" y="1334"/>
                </a:lnTo>
                <a:lnTo>
                  <a:pt x="5366" y="1503"/>
                </a:lnTo>
                <a:lnTo>
                  <a:pt x="5714" y="1345"/>
                </a:lnTo>
                <a:lnTo>
                  <a:pt x="5714" y="1545"/>
                </a:lnTo>
                <a:cubicBezTo>
                  <a:pt x="5690" y="1550"/>
                  <a:pt x="5687" y="1564"/>
                  <a:pt x="5687" y="1580"/>
                </a:cubicBezTo>
                <a:cubicBezTo>
                  <a:pt x="5687" y="1592"/>
                  <a:pt x="5692" y="1603"/>
                  <a:pt x="5700" y="1610"/>
                </a:cubicBezTo>
                <a:cubicBezTo>
                  <a:pt x="5692" y="1635"/>
                  <a:pt x="5680" y="1691"/>
                  <a:pt x="5688" y="1750"/>
                </a:cubicBezTo>
                <a:lnTo>
                  <a:pt x="5761" y="1750"/>
                </a:lnTo>
                <a:cubicBezTo>
                  <a:pt x="5769" y="1691"/>
                  <a:pt x="5757" y="1632"/>
                  <a:pt x="5749" y="1608"/>
                </a:cubicBezTo>
                <a:close/>
                <a:moveTo>
                  <a:pt x="5146" y="1435"/>
                </a:moveTo>
                <a:lnTo>
                  <a:pt x="5146" y="1685"/>
                </a:lnTo>
                <a:cubicBezTo>
                  <a:pt x="5206" y="1748"/>
                  <a:pt x="5312" y="1758"/>
                  <a:pt x="5347" y="1760"/>
                </a:cubicBezTo>
                <a:lnTo>
                  <a:pt x="5347" y="1760"/>
                </a:lnTo>
                <a:cubicBezTo>
                  <a:pt x="5347" y="1760"/>
                  <a:pt x="5356" y="1760"/>
                  <a:pt x="5359" y="1760"/>
                </a:cubicBezTo>
                <a:cubicBezTo>
                  <a:pt x="5363" y="1760"/>
                  <a:pt x="5371" y="1760"/>
                  <a:pt x="5371" y="1760"/>
                </a:cubicBezTo>
                <a:lnTo>
                  <a:pt x="5371" y="1760"/>
                </a:lnTo>
                <a:cubicBezTo>
                  <a:pt x="5395" y="1758"/>
                  <a:pt x="5513" y="1748"/>
                  <a:pt x="5572" y="1685"/>
                </a:cubicBezTo>
                <a:lnTo>
                  <a:pt x="5572" y="1435"/>
                </a:lnTo>
                <a:cubicBezTo>
                  <a:pt x="5572" y="1437"/>
                  <a:pt x="5394" y="1521"/>
                  <a:pt x="5359" y="1538"/>
                </a:cubicBezTo>
                <a:cubicBezTo>
                  <a:pt x="5324" y="1521"/>
                  <a:pt x="5146" y="1437"/>
                  <a:pt x="5146" y="1435"/>
                </a:cubicBezTo>
                <a:close/>
                <a:moveTo>
                  <a:pt x="4797" y="1545"/>
                </a:moveTo>
                <a:cubicBezTo>
                  <a:pt x="4797" y="1547"/>
                  <a:pt x="4798" y="1549"/>
                  <a:pt x="4798" y="1551"/>
                </a:cubicBezTo>
                <a:cubicBezTo>
                  <a:pt x="4798" y="1549"/>
                  <a:pt x="4797" y="1547"/>
                  <a:pt x="4797" y="1545"/>
                </a:cubicBezTo>
                <a:close/>
                <a:moveTo>
                  <a:pt x="4802" y="1575"/>
                </a:moveTo>
                <a:lnTo>
                  <a:pt x="4803" y="1579"/>
                </a:lnTo>
                <a:lnTo>
                  <a:pt x="4380" y="1592"/>
                </a:lnTo>
                <a:cubicBezTo>
                  <a:pt x="4373" y="1664"/>
                  <a:pt x="4312" y="1720"/>
                  <a:pt x="4238" y="1720"/>
                </a:cubicBezTo>
                <a:cubicBezTo>
                  <a:pt x="4221" y="1720"/>
                  <a:pt x="4204" y="1717"/>
                  <a:pt x="4188" y="1711"/>
                </a:cubicBezTo>
                <a:lnTo>
                  <a:pt x="3810" y="2423"/>
                </a:lnTo>
                <a:lnTo>
                  <a:pt x="4175" y="3069"/>
                </a:lnTo>
                <a:lnTo>
                  <a:pt x="5261" y="2615"/>
                </a:lnTo>
                <a:lnTo>
                  <a:pt x="5357" y="2054"/>
                </a:lnTo>
                <a:cubicBezTo>
                  <a:pt x="5203" y="2049"/>
                  <a:pt x="5065" y="1985"/>
                  <a:pt x="4964" y="1883"/>
                </a:cubicBezTo>
                <a:cubicBezTo>
                  <a:pt x="4881" y="1801"/>
                  <a:pt x="4823" y="1694"/>
                  <a:pt x="4802" y="1575"/>
                </a:cubicBezTo>
                <a:close/>
                <a:moveTo>
                  <a:pt x="5364" y="2055"/>
                </a:moveTo>
                <a:cubicBezTo>
                  <a:pt x="5366" y="2055"/>
                  <a:pt x="5367" y="2055"/>
                  <a:pt x="5369" y="2055"/>
                </a:cubicBezTo>
                <a:cubicBezTo>
                  <a:pt x="5367" y="2055"/>
                  <a:pt x="5366" y="2055"/>
                  <a:pt x="5364" y="2055"/>
                </a:cubicBezTo>
                <a:close/>
                <a:moveTo>
                  <a:pt x="5370" y="2055"/>
                </a:moveTo>
                <a:cubicBezTo>
                  <a:pt x="5373" y="2055"/>
                  <a:pt x="5375" y="2055"/>
                  <a:pt x="5377" y="2055"/>
                </a:cubicBezTo>
                <a:cubicBezTo>
                  <a:pt x="5375" y="2055"/>
                  <a:pt x="5373" y="2055"/>
                  <a:pt x="5370" y="2055"/>
                </a:cubicBezTo>
                <a:close/>
                <a:moveTo>
                  <a:pt x="5377" y="2055"/>
                </a:moveTo>
                <a:cubicBezTo>
                  <a:pt x="5380" y="2055"/>
                  <a:pt x="5382" y="2055"/>
                  <a:pt x="5384" y="2055"/>
                </a:cubicBezTo>
                <a:cubicBezTo>
                  <a:pt x="5382" y="2055"/>
                  <a:pt x="5380" y="2055"/>
                  <a:pt x="5377" y="2055"/>
                </a:cubicBezTo>
                <a:close/>
                <a:moveTo>
                  <a:pt x="5385" y="2055"/>
                </a:moveTo>
                <a:cubicBezTo>
                  <a:pt x="5388" y="2055"/>
                  <a:pt x="5390" y="2055"/>
                  <a:pt x="5392" y="2055"/>
                </a:cubicBezTo>
                <a:cubicBezTo>
                  <a:pt x="5390" y="2055"/>
                  <a:pt x="5388" y="2055"/>
                  <a:pt x="5385" y="2055"/>
                </a:cubicBezTo>
                <a:close/>
                <a:moveTo>
                  <a:pt x="5392" y="2055"/>
                </a:moveTo>
                <a:lnTo>
                  <a:pt x="5299" y="2599"/>
                </a:lnTo>
                <a:lnTo>
                  <a:pt x="7010" y="1882"/>
                </a:lnTo>
                <a:cubicBezTo>
                  <a:pt x="7007" y="1870"/>
                  <a:pt x="7005" y="1857"/>
                  <a:pt x="7005" y="1844"/>
                </a:cubicBezTo>
                <a:cubicBezTo>
                  <a:pt x="7005" y="1794"/>
                  <a:pt x="7030" y="1751"/>
                  <a:pt x="7069" y="1725"/>
                </a:cubicBezTo>
                <a:lnTo>
                  <a:pt x="6856" y="1287"/>
                </a:lnTo>
                <a:cubicBezTo>
                  <a:pt x="6841" y="1292"/>
                  <a:pt x="6826" y="1294"/>
                  <a:pt x="6810" y="1294"/>
                </a:cubicBezTo>
                <a:cubicBezTo>
                  <a:pt x="6751" y="1294"/>
                  <a:pt x="6701" y="1259"/>
                  <a:pt x="6679" y="1208"/>
                </a:cubicBezTo>
                <a:lnTo>
                  <a:pt x="5960" y="1417"/>
                </a:lnTo>
                <a:cubicBezTo>
                  <a:pt x="5960" y="1415"/>
                  <a:pt x="5959" y="1413"/>
                  <a:pt x="5959" y="1411"/>
                </a:cubicBezTo>
                <a:cubicBezTo>
                  <a:pt x="5961" y="1430"/>
                  <a:pt x="5962" y="1450"/>
                  <a:pt x="5962" y="1470"/>
                </a:cubicBezTo>
                <a:cubicBezTo>
                  <a:pt x="5962" y="1631"/>
                  <a:pt x="5897" y="1778"/>
                  <a:pt x="5791" y="1883"/>
                </a:cubicBezTo>
                <a:cubicBezTo>
                  <a:pt x="5688" y="1986"/>
                  <a:pt x="5548" y="2051"/>
                  <a:pt x="5392" y="2055"/>
                </a:cubicBezTo>
                <a:close/>
                <a:moveTo>
                  <a:pt x="5959" y="1409"/>
                </a:moveTo>
                <a:cubicBezTo>
                  <a:pt x="5959" y="1407"/>
                  <a:pt x="5959" y="1405"/>
                  <a:pt x="5958" y="1403"/>
                </a:cubicBezTo>
                <a:cubicBezTo>
                  <a:pt x="5959" y="1405"/>
                  <a:pt x="5959" y="1407"/>
                  <a:pt x="5959" y="1409"/>
                </a:cubicBezTo>
                <a:close/>
                <a:moveTo>
                  <a:pt x="5958" y="1402"/>
                </a:moveTo>
                <a:cubicBezTo>
                  <a:pt x="5958" y="1400"/>
                  <a:pt x="5958" y="1398"/>
                  <a:pt x="5958" y="1396"/>
                </a:cubicBezTo>
                <a:cubicBezTo>
                  <a:pt x="5958" y="1398"/>
                  <a:pt x="5958" y="1400"/>
                  <a:pt x="5958" y="1402"/>
                </a:cubicBezTo>
                <a:close/>
                <a:moveTo>
                  <a:pt x="5957" y="1395"/>
                </a:moveTo>
                <a:cubicBezTo>
                  <a:pt x="5957" y="1393"/>
                  <a:pt x="5957" y="1390"/>
                  <a:pt x="5957" y="1388"/>
                </a:cubicBezTo>
                <a:cubicBezTo>
                  <a:pt x="5957" y="1390"/>
                  <a:pt x="5957" y="1393"/>
                  <a:pt x="5957" y="1395"/>
                </a:cubicBezTo>
                <a:close/>
                <a:moveTo>
                  <a:pt x="5956" y="1388"/>
                </a:moveTo>
                <a:cubicBezTo>
                  <a:pt x="5956" y="1386"/>
                  <a:pt x="5956" y="1384"/>
                  <a:pt x="5956" y="1382"/>
                </a:cubicBezTo>
                <a:cubicBezTo>
                  <a:pt x="5956" y="1384"/>
                  <a:pt x="5956" y="1386"/>
                  <a:pt x="5956" y="1388"/>
                </a:cubicBezTo>
                <a:close/>
                <a:moveTo>
                  <a:pt x="5741" y="1106"/>
                </a:moveTo>
                <a:cubicBezTo>
                  <a:pt x="5648" y="1013"/>
                  <a:pt x="5519" y="955"/>
                  <a:pt x="5377" y="955"/>
                </a:cubicBezTo>
                <a:cubicBezTo>
                  <a:pt x="5235" y="955"/>
                  <a:pt x="5107" y="1013"/>
                  <a:pt x="5014" y="1106"/>
                </a:cubicBezTo>
                <a:cubicBezTo>
                  <a:pt x="4920" y="1199"/>
                  <a:pt x="4863" y="1328"/>
                  <a:pt x="4863" y="1470"/>
                </a:cubicBezTo>
                <a:cubicBezTo>
                  <a:pt x="4863" y="1612"/>
                  <a:pt x="4920" y="1741"/>
                  <a:pt x="5014" y="1834"/>
                </a:cubicBezTo>
                <a:cubicBezTo>
                  <a:pt x="5107" y="1927"/>
                  <a:pt x="5235" y="1984"/>
                  <a:pt x="5377" y="1984"/>
                </a:cubicBezTo>
                <a:cubicBezTo>
                  <a:pt x="5519" y="1984"/>
                  <a:pt x="5648" y="1927"/>
                  <a:pt x="5741" y="1834"/>
                </a:cubicBezTo>
                <a:cubicBezTo>
                  <a:pt x="5834" y="1741"/>
                  <a:pt x="5892" y="1612"/>
                  <a:pt x="5892" y="1470"/>
                </a:cubicBezTo>
                <a:cubicBezTo>
                  <a:pt x="5892" y="1328"/>
                  <a:pt x="5834" y="1199"/>
                  <a:pt x="5741" y="1106"/>
                </a:cubicBezTo>
                <a:close/>
                <a:moveTo>
                  <a:pt x="4205" y="407"/>
                </a:moveTo>
                <a:lnTo>
                  <a:pt x="4204" y="601"/>
                </a:lnTo>
                <a:lnTo>
                  <a:pt x="4132" y="610"/>
                </a:lnTo>
                <a:lnTo>
                  <a:pt x="4133" y="407"/>
                </a:lnTo>
                <a:lnTo>
                  <a:pt x="4205" y="407"/>
                </a:lnTo>
                <a:close/>
                <a:moveTo>
                  <a:pt x="4581" y="552"/>
                </a:moveTo>
                <a:lnTo>
                  <a:pt x="4499" y="563"/>
                </a:lnTo>
                <a:lnTo>
                  <a:pt x="4499" y="409"/>
                </a:lnTo>
                <a:lnTo>
                  <a:pt x="4581" y="409"/>
                </a:lnTo>
                <a:lnTo>
                  <a:pt x="4581" y="552"/>
                </a:lnTo>
                <a:close/>
                <a:moveTo>
                  <a:pt x="4372" y="408"/>
                </a:moveTo>
                <a:lnTo>
                  <a:pt x="4459" y="408"/>
                </a:lnTo>
                <a:lnTo>
                  <a:pt x="4458" y="568"/>
                </a:lnTo>
                <a:lnTo>
                  <a:pt x="4371" y="579"/>
                </a:lnTo>
                <a:lnTo>
                  <a:pt x="4372" y="408"/>
                </a:lnTo>
                <a:close/>
                <a:moveTo>
                  <a:pt x="4331" y="585"/>
                </a:moveTo>
                <a:lnTo>
                  <a:pt x="4244" y="596"/>
                </a:lnTo>
                <a:lnTo>
                  <a:pt x="4245" y="408"/>
                </a:lnTo>
                <a:lnTo>
                  <a:pt x="4332" y="408"/>
                </a:lnTo>
                <a:lnTo>
                  <a:pt x="4331" y="585"/>
                </a:lnTo>
                <a:close/>
                <a:moveTo>
                  <a:pt x="4629" y="687"/>
                </a:moveTo>
                <a:lnTo>
                  <a:pt x="4132" y="685"/>
                </a:lnTo>
                <a:lnTo>
                  <a:pt x="4132" y="661"/>
                </a:lnTo>
                <a:lnTo>
                  <a:pt x="4589" y="602"/>
                </a:lnTo>
                <a:cubicBezTo>
                  <a:pt x="4613" y="598"/>
                  <a:pt x="4630" y="579"/>
                  <a:pt x="4631" y="555"/>
                </a:cubicBezTo>
                <a:lnTo>
                  <a:pt x="4631" y="404"/>
                </a:lnTo>
                <a:cubicBezTo>
                  <a:pt x="4631" y="379"/>
                  <a:pt x="4611" y="359"/>
                  <a:pt x="4586" y="359"/>
                </a:cubicBezTo>
                <a:lnTo>
                  <a:pt x="4133" y="357"/>
                </a:lnTo>
                <a:lnTo>
                  <a:pt x="4134" y="322"/>
                </a:lnTo>
                <a:cubicBezTo>
                  <a:pt x="4134" y="291"/>
                  <a:pt x="4109" y="267"/>
                  <a:pt x="4078" y="267"/>
                </a:cubicBezTo>
                <a:lnTo>
                  <a:pt x="3990" y="266"/>
                </a:lnTo>
                <a:cubicBezTo>
                  <a:pt x="3970" y="266"/>
                  <a:pt x="3955" y="282"/>
                  <a:pt x="3955" y="301"/>
                </a:cubicBezTo>
                <a:cubicBezTo>
                  <a:pt x="3955" y="321"/>
                  <a:pt x="3970" y="337"/>
                  <a:pt x="3990" y="337"/>
                </a:cubicBezTo>
                <a:lnTo>
                  <a:pt x="4063" y="337"/>
                </a:lnTo>
                <a:lnTo>
                  <a:pt x="4061" y="700"/>
                </a:lnTo>
                <a:cubicBezTo>
                  <a:pt x="4061" y="731"/>
                  <a:pt x="4086" y="756"/>
                  <a:pt x="4117" y="756"/>
                </a:cubicBezTo>
                <a:lnTo>
                  <a:pt x="4629" y="758"/>
                </a:lnTo>
                <a:cubicBezTo>
                  <a:pt x="4648" y="758"/>
                  <a:pt x="4664" y="742"/>
                  <a:pt x="4664" y="723"/>
                </a:cubicBezTo>
                <a:cubicBezTo>
                  <a:pt x="4664" y="703"/>
                  <a:pt x="4648" y="687"/>
                  <a:pt x="4629" y="687"/>
                </a:cubicBezTo>
                <a:close/>
                <a:moveTo>
                  <a:pt x="4222" y="763"/>
                </a:moveTo>
                <a:cubicBezTo>
                  <a:pt x="4183" y="763"/>
                  <a:pt x="4152" y="794"/>
                  <a:pt x="4152" y="833"/>
                </a:cubicBezTo>
                <a:cubicBezTo>
                  <a:pt x="4152" y="871"/>
                  <a:pt x="4183" y="902"/>
                  <a:pt x="4221" y="903"/>
                </a:cubicBezTo>
                <a:cubicBezTo>
                  <a:pt x="4260" y="903"/>
                  <a:pt x="4291" y="872"/>
                  <a:pt x="4291" y="833"/>
                </a:cubicBezTo>
                <a:cubicBezTo>
                  <a:pt x="4291" y="795"/>
                  <a:pt x="4260" y="763"/>
                  <a:pt x="4222" y="763"/>
                </a:cubicBezTo>
                <a:close/>
                <a:moveTo>
                  <a:pt x="4558" y="764"/>
                </a:moveTo>
                <a:cubicBezTo>
                  <a:pt x="4520" y="764"/>
                  <a:pt x="4488" y="795"/>
                  <a:pt x="4488" y="834"/>
                </a:cubicBezTo>
                <a:cubicBezTo>
                  <a:pt x="4488" y="872"/>
                  <a:pt x="4519" y="904"/>
                  <a:pt x="4557" y="904"/>
                </a:cubicBezTo>
                <a:cubicBezTo>
                  <a:pt x="4596" y="904"/>
                  <a:pt x="4627" y="873"/>
                  <a:pt x="4627" y="835"/>
                </a:cubicBezTo>
                <a:cubicBezTo>
                  <a:pt x="4628" y="796"/>
                  <a:pt x="4597" y="765"/>
                  <a:pt x="4558" y="764"/>
                </a:cubicBezTo>
                <a:close/>
                <a:moveTo>
                  <a:pt x="3780" y="834"/>
                </a:moveTo>
                <a:lnTo>
                  <a:pt x="3086" y="951"/>
                </a:lnTo>
                <a:cubicBezTo>
                  <a:pt x="3086" y="953"/>
                  <a:pt x="3086" y="955"/>
                  <a:pt x="3086" y="957"/>
                </a:cubicBezTo>
                <a:cubicBezTo>
                  <a:pt x="3086" y="1002"/>
                  <a:pt x="3065" y="1042"/>
                  <a:pt x="3033" y="1068"/>
                </a:cubicBezTo>
                <a:lnTo>
                  <a:pt x="3115" y="1201"/>
                </a:lnTo>
                <a:cubicBezTo>
                  <a:pt x="3133" y="1193"/>
                  <a:pt x="3153" y="1188"/>
                  <a:pt x="3174" y="1188"/>
                </a:cubicBezTo>
                <a:cubicBezTo>
                  <a:pt x="3253" y="1188"/>
                  <a:pt x="3316" y="1251"/>
                  <a:pt x="3316" y="1330"/>
                </a:cubicBezTo>
                <a:cubicBezTo>
                  <a:pt x="3316" y="1377"/>
                  <a:pt x="3294" y="1418"/>
                  <a:pt x="3259" y="1444"/>
                </a:cubicBezTo>
                <a:lnTo>
                  <a:pt x="3790" y="2386"/>
                </a:lnTo>
                <a:lnTo>
                  <a:pt x="4157" y="1694"/>
                </a:lnTo>
                <a:cubicBezTo>
                  <a:pt x="4120" y="1669"/>
                  <a:pt x="4097" y="1626"/>
                  <a:pt x="4097" y="1578"/>
                </a:cubicBezTo>
                <a:cubicBezTo>
                  <a:pt x="4097" y="1502"/>
                  <a:pt x="4157" y="1439"/>
                  <a:pt x="4233" y="1436"/>
                </a:cubicBezTo>
                <a:lnTo>
                  <a:pt x="4255" y="1167"/>
                </a:lnTo>
                <a:cubicBezTo>
                  <a:pt x="4115" y="1155"/>
                  <a:pt x="3990" y="1092"/>
                  <a:pt x="3896" y="999"/>
                </a:cubicBezTo>
                <a:cubicBezTo>
                  <a:pt x="3848" y="951"/>
                  <a:pt x="3809" y="896"/>
                  <a:pt x="3780" y="834"/>
                </a:cubicBezTo>
                <a:close/>
                <a:moveTo>
                  <a:pt x="4673" y="221"/>
                </a:moveTo>
                <a:cubicBezTo>
                  <a:pt x="4580" y="128"/>
                  <a:pt x="4451" y="71"/>
                  <a:pt x="4309" y="71"/>
                </a:cubicBezTo>
                <a:cubicBezTo>
                  <a:pt x="4167" y="71"/>
                  <a:pt x="4039" y="128"/>
                  <a:pt x="3946" y="221"/>
                </a:cubicBezTo>
                <a:cubicBezTo>
                  <a:pt x="3853" y="314"/>
                  <a:pt x="3795" y="443"/>
                  <a:pt x="3795" y="585"/>
                </a:cubicBezTo>
                <a:cubicBezTo>
                  <a:pt x="3795" y="727"/>
                  <a:pt x="3853" y="856"/>
                  <a:pt x="3946" y="949"/>
                </a:cubicBezTo>
                <a:cubicBezTo>
                  <a:pt x="4039" y="1042"/>
                  <a:pt x="4167" y="1099"/>
                  <a:pt x="4309" y="1099"/>
                </a:cubicBezTo>
                <a:cubicBezTo>
                  <a:pt x="4451" y="1099"/>
                  <a:pt x="4580" y="1042"/>
                  <a:pt x="4673" y="949"/>
                </a:cubicBezTo>
                <a:cubicBezTo>
                  <a:pt x="4766" y="856"/>
                  <a:pt x="4824" y="727"/>
                  <a:pt x="4824" y="585"/>
                </a:cubicBezTo>
                <a:cubicBezTo>
                  <a:pt x="4824" y="443"/>
                  <a:pt x="4766" y="314"/>
                  <a:pt x="4673" y="221"/>
                </a:cubicBezTo>
                <a:close/>
                <a:moveTo>
                  <a:pt x="1564" y="2349"/>
                </a:moveTo>
                <a:lnTo>
                  <a:pt x="1776" y="2485"/>
                </a:lnTo>
                <a:lnTo>
                  <a:pt x="2186" y="1978"/>
                </a:lnTo>
                <a:cubicBezTo>
                  <a:pt x="2161" y="1952"/>
                  <a:pt x="2146" y="1918"/>
                  <a:pt x="2146" y="1880"/>
                </a:cubicBezTo>
                <a:cubicBezTo>
                  <a:pt x="2146" y="1839"/>
                  <a:pt x="2163" y="1802"/>
                  <a:pt x="2191" y="1776"/>
                </a:cubicBezTo>
                <a:lnTo>
                  <a:pt x="1984" y="1490"/>
                </a:lnTo>
                <a:cubicBezTo>
                  <a:pt x="1963" y="1501"/>
                  <a:pt x="1940" y="1507"/>
                  <a:pt x="1915" y="1507"/>
                </a:cubicBezTo>
                <a:cubicBezTo>
                  <a:pt x="1865" y="1507"/>
                  <a:pt x="1822" y="1481"/>
                  <a:pt x="1796" y="1443"/>
                </a:cubicBezTo>
                <a:lnTo>
                  <a:pt x="1429" y="1621"/>
                </a:lnTo>
                <a:cubicBezTo>
                  <a:pt x="1434" y="1635"/>
                  <a:pt x="1437" y="1651"/>
                  <a:pt x="1437" y="1667"/>
                </a:cubicBezTo>
                <a:cubicBezTo>
                  <a:pt x="1437" y="1728"/>
                  <a:pt x="1398" y="1780"/>
                  <a:pt x="1343" y="1800"/>
                </a:cubicBezTo>
                <a:lnTo>
                  <a:pt x="1422" y="2146"/>
                </a:lnTo>
                <a:cubicBezTo>
                  <a:pt x="1427" y="2146"/>
                  <a:pt x="1432" y="2146"/>
                  <a:pt x="1437" y="2146"/>
                </a:cubicBezTo>
                <a:cubicBezTo>
                  <a:pt x="1515" y="2146"/>
                  <a:pt x="1578" y="2209"/>
                  <a:pt x="1578" y="2287"/>
                </a:cubicBezTo>
                <a:cubicBezTo>
                  <a:pt x="1578" y="2309"/>
                  <a:pt x="1573" y="2330"/>
                  <a:pt x="1564" y="2349"/>
                </a:cubicBezTo>
                <a:close/>
                <a:moveTo>
                  <a:pt x="1806" y="2504"/>
                </a:moveTo>
                <a:lnTo>
                  <a:pt x="2302" y="2823"/>
                </a:lnTo>
                <a:lnTo>
                  <a:pt x="2275" y="2021"/>
                </a:lnTo>
                <a:cubicBezTo>
                  <a:pt x="2252" y="2019"/>
                  <a:pt x="2231" y="2011"/>
                  <a:pt x="2213" y="2000"/>
                </a:cubicBezTo>
                <a:lnTo>
                  <a:pt x="1806" y="2504"/>
                </a:lnTo>
                <a:close/>
                <a:moveTo>
                  <a:pt x="6805" y="9677"/>
                </a:moveTo>
                <a:lnTo>
                  <a:pt x="7377" y="9625"/>
                </a:lnTo>
                <a:cubicBezTo>
                  <a:pt x="7378" y="9613"/>
                  <a:pt x="7379" y="9602"/>
                  <a:pt x="7382" y="9592"/>
                </a:cubicBezTo>
                <a:lnTo>
                  <a:pt x="6842" y="9371"/>
                </a:lnTo>
                <a:lnTo>
                  <a:pt x="6805" y="9677"/>
                </a:lnTo>
                <a:close/>
                <a:moveTo>
                  <a:pt x="6891" y="8675"/>
                </a:moveTo>
                <a:lnTo>
                  <a:pt x="4927" y="8539"/>
                </a:lnTo>
                <a:cubicBezTo>
                  <a:pt x="4927" y="8542"/>
                  <a:pt x="4926" y="8546"/>
                  <a:pt x="4925" y="8549"/>
                </a:cubicBezTo>
                <a:lnTo>
                  <a:pt x="6813" y="9321"/>
                </a:lnTo>
                <a:lnTo>
                  <a:pt x="6891" y="8675"/>
                </a:lnTo>
                <a:close/>
                <a:moveTo>
                  <a:pt x="7381" y="9659"/>
                </a:moveTo>
                <a:lnTo>
                  <a:pt x="6801" y="9713"/>
                </a:lnTo>
                <a:lnTo>
                  <a:pt x="6744" y="10191"/>
                </a:lnTo>
                <a:lnTo>
                  <a:pt x="7317" y="10519"/>
                </a:lnTo>
                <a:cubicBezTo>
                  <a:pt x="7342" y="10486"/>
                  <a:pt x="7381" y="10464"/>
                  <a:pt x="7426" y="10463"/>
                </a:cubicBezTo>
                <a:lnTo>
                  <a:pt x="7489" y="9768"/>
                </a:lnTo>
                <a:cubicBezTo>
                  <a:pt x="7435" y="9756"/>
                  <a:pt x="7392" y="9713"/>
                  <a:pt x="7381" y="9659"/>
                </a:cubicBezTo>
                <a:close/>
              </a:path>
            </a:pathLst>
          </a:custGeom>
          <a:gradFill>
            <a:gsLst>
              <a:gs pos="0">
                <a:schemeClr val="accent2">
                  <a:lumMod val="20000"/>
                  <a:lumOff val="80000"/>
                  <a:alpha val="48000"/>
                </a:schemeClr>
              </a:gs>
              <a:gs pos="100000">
                <a:schemeClr val="accent2">
                  <a:lumMod val="20000"/>
                  <a:lumOff val="80000"/>
                  <a:alpha val="28000"/>
                </a:schemeClr>
              </a:gs>
            </a:gsLst>
            <a:lin ang="5400000" scaled="1"/>
          </a:gradFill>
          <a:ln>
            <a:solidFill>
              <a:schemeClr val="bg2">
                <a:lumMod val="95000"/>
              </a:schemeClr>
            </a:solidFill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7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83776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4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42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2"/>
          <a:stretch/>
        </p:blipFill>
        <p:spPr>
          <a:xfrm>
            <a:off x="20" y="693"/>
            <a:ext cx="9144000" cy="4617524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114818" y="4811438"/>
            <a:ext cx="284683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114803" y="4905651"/>
            <a:ext cx="30291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04/10/2017 09:32 E. South America Standard Time</a:t>
            </a: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114818" y="4999854"/>
            <a:ext cx="284683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18/09/2017 16:26 E. South America Standard Time</a:t>
            </a: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919604" y="1097692"/>
            <a:ext cx="3753486" cy="38087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7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pt-BR" noProof="0" dirty="0"/>
              <a:t>Título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919604" y="2386825"/>
            <a:ext cx="3753486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50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pt-BR" noProof="0" dirty="0"/>
              <a:t>Tipo de documento | Data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615943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314475" y="2744517"/>
            <a:ext cx="6358614" cy="2349546"/>
            <a:chOff x="3024489" y="3586507"/>
            <a:chExt cx="8309252" cy="3070363"/>
          </a:xfrm>
        </p:grpSpPr>
        <p:sp>
          <p:nvSpPr>
            <p:cNvPr id="57" name="Document type" hidden="1"/>
            <p:cNvSpPr txBox="1">
              <a:spLocks noChangeArrowheads="1"/>
            </p:cNvSpPr>
            <p:nvPr/>
          </p:nvSpPr>
          <p:spPr bwMode="gray">
            <a:xfrm>
              <a:off x="3024489" y="3586507"/>
              <a:ext cx="8309252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4C91A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po de documento | Data</a:t>
              </a:r>
            </a:p>
          </p:txBody>
        </p:sp>
        <p:sp>
          <p:nvSpPr>
            <p:cNvPr id="26" name="Disclaimer-Portuguese (Brasil)" hidden="1"/>
            <p:cNvSpPr>
              <a:spLocks noChangeArrowheads="1"/>
            </p:cNvSpPr>
            <p:nvPr/>
          </p:nvSpPr>
          <p:spPr bwMode="black">
            <a:xfrm>
              <a:off x="3024489" y="6294891"/>
              <a:ext cx="4726147" cy="3619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l" defTabSz="61388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FIDENCIAL E DE PROPRIEDADE EXCLUSIVA</a:t>
              </a:r>
            </a:p>
            <a:p>
              <a:pPr marL="0" marR="0" lvl="0" indent="0" algn="l" defTabSz="61388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 utilização deste material sem a permissão expressa
da McKinsey &amp; Company é estritamente proibida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065006" y="4600826"/>
            <a:ext cx="4820981" cy="457637"/>
            <a:chOff x="5312010" y="6012314"/>
            <a:chExt cx="6299917" cy="598035"/>
          </a:xfrm>
        </p:grpSpPr>
        <p:pic>
          <p:nvPicPr>
            <p:cNvPr id="13" name="Picture 1390" descr="Resultado de imagem para logo bndes"/>
            <p:cNvPicPr>
              <a:picLocks noChangeAspect="1" noChangeArrowheads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2986"/>
            <a:stretch/>
          </p:blipFill>
          <p:spPr bwMode="auto">
            <a:xfrm>
              <a:off x="5312010" y="6320519"/>
              <a:ext cx="1064978" cy="2517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90" descr="Resultado de imagem para logo bndes"/>
            <p:cNvPicPr>
              <a:picLocks noChangeAspect="1" noChangeArrowheads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1981" b="-160"/>
            <a:stretch/>
          </p:blipFill>
          <p:spPr bwMode="auto">
            <a:xfrm>
              <a:off x="6428795" y="6340022"/>
              <a:ext cx="1064978" cy="212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9831" name="Picture 1271" descr="Imagem relacionada"/>
            <p:cNvPicPr>
              <a:picLocks noChangeAspect="1" noChangeArrowheads="1"/>
            </p:cNvPicPr>
            <p:nvPr userDrawn="1"/>
          </p:nvPicPr>
          <p:blipFill rotWithShape="1">
            <a:blip r:embed="rId9" cstate="print">
              <a:clrChange>
                <a:clrFrom>
                  <a:srgbClr val="E5E6E7"/>
                </a:clrFrom>
                <a:clrTo>
                  <a:srgbClr val="E5E6E7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8" t="34683" r="43908" b="24700"/>
            <a:stretch/>
          </p:blipFill>
          <p:spPr bwMode="auto">
            <a:xfrm>
              <a:off x="7618481" y="6257924"/>
              <a:ext cx="1338263" cy="352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9834" name="Picture 1274" descr="Resultado de imagem para ministério da ciencia e tecnologia"/>
            <p:cNvPicPr>
              <a:picLocks noChangeAspect="1" noChangeArrowheads="1"/>
            </p:cNvPicPr>
            <p:nvPr userDrawn="1"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1452" y="6012314"/>
              <a:ext cx="2530475" cy="594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260328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4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42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20" y="4903687"/>
            <a:ext cx="9144000" cy="256478"/>
            <a:chOff x="1833416" y="3320291"/>
            <a:chExt cx="10260013" cy="954054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504" y="176148"/>
            <a:ext cx="8794113" cy="28262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39" y="5000324"/>
            <a:ext cx="123432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pt-BR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22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2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143957" y="471730"/>
            <a:ext cx="4025232" cy="4314515"/>
          </a:xfrm>
          <a:custGeom>
            <a:avLst/>
            <a:gdLst>
              <a:gd name="T0" fmla="*/ 2288 w 11758"/>
              <a:gd name="T1" fmla="*/ 1738 h 12608"/>
              <a:gd name="T2" fmla="*/ 4792 w 11758"/>
              <a:gd name="T3" fmla="*/ 1470 h 12608"/>
              <a:gd name="T4" fmla="*/ 11587 w 11758"/>
              <a:gd name="T5" fmla="*/ 5324 h 12608"/>
              <a:gd name="T6" fmla="*/ 6904 w 11758"/>
              <a:gd name="T7" fmla="*/ 11609 h 12608"/>
              <a:gd name="T8" fmla="*/ 4154 w 11758"/>
              <a:gd name="T9" fmla="*/ 7173 h 12608"/>
              <a:gd name="T10" fmla="*/ 6181 w 11758"/>
              <a:gd name="T11" fmla="*/ 11902 h 12608"/>
              <a:gd name="T12" fmla="*/ 6865 w 11758"/>
              <a:gd name="T13" fmla="*/ 12180 h 12608"/>
              <a:gd name="T14" fmla="*/ 6490 w 11758"/>
              <a:gd name="T15" fmla="*/ 11438 h 12608"/>
              <a:gd name="T16" fmla="*/ 9142 w 11758"/>
              <a:gd name="T17" fmla="*/ 9015 h 12608"/>
              <a:gd name="T18" fmla="*/ 8369 w 11758"/>
              <a:gd name="T19" fmla="*/ 7046 h 12608"/>
              <a:gd name="T20" fmla="*/ 9088 w 11758"/>
              <a:gd name="T21" fmla="*/ 8500 h 12608"/>
              <a:gd name="T22" fmla="*/ 6497 w 11758"/>
              <a:gd name="T23" fmla="*/ 9718 h 12608"/>
              <a:gd name="T24" fmla="*/ 6287 w 11758"/>
              <a:gd name="T25" fmla="*/ 9840 h 12608"/>
              <a:gd name="T26" fmla="*/ 6568 w 11758"/>
              <a:gd name="T27" fmla="*/ 9699 h 12608"/>
              <a:gd name="T28" fmla="*/ 4929 w 11758"/>
              <a:gd name="T29" fmla="*/ 6963 h 12608"/>
              <a:gd name="T30" fmla="*/ 4827 w 11758"/>
              <a:gd name="T31" fmla="*/ 7042 h 12608"/>
              <a:gd name="T32" fmla="*/ 6491 w 11758"/>
              <a:gd name="T33" fmla="*/ 7005 h 12608"/>
              <a:gd name="T34" fmla="*/ 7761 w 11758"/>
              <a:gd name="T35" fmla="*/ 4928 h 12608"/>
              <a:gd name="T36" fmla="*/ 4557 w 11758"/>
              <a:gd name="T37" fmla="*/ 4787 h 12608"/>
              <a:gd name="T38" fmla="*/ 4931 w 11758"/>
              <a:gd name="T39" fmla="*/ 6395 h 12608"/>
              <a:gd name="T40" fmla="*/ 6770 w 11758"/>
              <a:gd name="T41" fmla="*/ 7378 h 12608"/>
              <a:gd name="T42" fmla="*/ 6603 w 11758"/>
              <a:gd name="T43" fmla="*/ 6950 h 12608"/>
              <a:gd name="T44" fmla="*/ 8559 w 11758"/>
              <a:gd name="T45" fmla="*/ 6271 h 12608"/>
              <a:gd name="T46" fmla="*/ 8590 w 11758"/>
              <a:gd name="T47" fmla="*/ 6713 h 12608"/>
              <a:gd name="T48" fmla="*/ 8783 w 11758"/>
              <a:gd name="T49" fmla="*/ 6047 h 12608"/>
              <a:gd name="T50" fmla="*/ 11297 w 11758"/>
              <a:gd name="T51" fmla="*/ 5129 h 12608"/>
              <a:gd name="T52" fmla="*/ 11413 w 11758"/>
              <a:gd name="T53" fmla="*/ 5071 h 12608"/>
              <a:gd name="T54" fmla="*/ 11137 w 11758"/>
              <a:gd name="T55" fmla="*/ 4634 h 12608"/>
              <a:gd name="T56" fmla="*/ 10809 w 11758"/>
              <a:gd name="T57" fmla="*/ 4547 h 12608"/>
              <a:gd name="T58" fmla="*/ 8582 w 11758"/>
              <a:gd name="T59" fmla="*/ 5102 h 12608"/>
              <a:gd name="T60" fmla="*/ 8205 w 11758"/>
              <a:gd name="T61" fmla="*/ 5155 h 12608"/>
              <a:gd name="T62" fmla="*/ 8043 w 11758"/>
              <a:gd name="T63" fmla="*/ 4835 h 12608"/>
              <a:gd name="T64" fmla="*/ 7416 w 11758"/>
              <a:gd name="T65" fmla="*/ 5997 h 12608"/>
              <a:gd name="T66" fmla="*/ 1406 w 11758"/>
              <a:gd name="T67" fmla="*/ 4840 h 12608"/>
              <a:gd name="T68" fmla="*/ 975 w 11758"/>
              <a:gd name="T69" fmla="*/ 5151 h 12608"/>
              <a:gd name="T70" fmla="*/ 2306 w 11758"/>
              <a:gd name="T71" fmla="*/ 4943 h 12608"/>
              <a:gd name="T72" fmla="*/ 4796 w 11758"/>
              <a:gd name="T73" fmla="*/ 4170 h 12608"/>
              <a:gd name="T74" fmla="*/ 5234 w 11758"/>
              <a:gd name="T75" fmla="*/ 4273 h 12608"/>
              <a:gd name="T76" fmla="*/ 4633 w 11758"/>
              <a:gd name="T77" fmla="*/ 4493 h 12608"/>
              <a:gd name="T78" fmla="*/ 5542 w 11758"/>
              <a:gd name="T79" fmla="*/ 4247 h 12608"/>
              <a:gd name="T80" fmla="*/ 5334 w 11758"/>
              <a:gd name="T81" fmla="*/ 4009 h 12608"/>
              <a:gd name="T82" fmla="*/ 1009 w 11758"/>
              <a:gd name="T83" fmla="*/ 2861 h 12608"/>
              <a:gd name="T84" fmla="*/ 1331 w 11758"/>
              <a:gd name="T85" fmla="*/ 3239 h 12608"/>
              <a:gd name="T86" fmla="*/ 2372 w 11758"/>
              <a:gd name="T87" fmla="*/ 4914 h 12608"/>
              <a:gd name="T88" fmla="*/ 1736 w 11758"/>
              <a:gd name="T89" fmla="*/ 3135 h 12608"/>
              <a:gd name="T90" fmla="*/ 3367 w 11758"/>
              <a:gd name="T91" fmla="*/ 3461 h 12608"/>
              <a:gd name="T92" fmla="*/ 2863 w 11758"/>
              <a:gd name="T93" fmla="*/ 3410 h 12608"/>
              <a:gd name="T94" fmla="*/ 3318 w 11758"/>
              <a:gd name="T95" fmla="*/ 2906 h 12608"/>
              <a:gd name="T96" fmla="*/ 2814 w 11758"/>
              <a:gd name="T97" fmla="*/ 3194 h 12608"/>
              <a:gd name="T98" fmla="*/ 7467 w 11758"/>
              <a:gd name="T99" fmla="*/ 2889 h 12608"/>
              <a:gd name="T100" fmla="*/ 7799 w 11758"/>
              <a:gd name="T101" fmla="*/ 3487 h 12608"/>
              <a:gd name="T102" fmla="*/ 7401 w 11758"/>
              <a:gd name="T103" fmla="*/ 3569 h 12608"/>
              <a:gd name="T104" fmla="*/ 7986 w 11758"/>
              <a:gd name="T105" fmla="*/ 3749 h 12608"/>
              <a:gd name="T106" fmla="*/ 5146 w 11758"/>
              <a:gd name="T107" fmla="*/ 1685 h 12608"/>
              <a:gd name="T108" fmla="*/ 4964 w 11758"/>
              <a:gd name="T109" fmla="*/ 1883 h 12608"/>
              <a:gd name="T110" fmla="*/ 5960 w 11758"/>
              <a:gd name="T111" fmla="*/ 1417 h 12608"/>
              <a:gd name="T112" fmla="*/ 5377 w 11758"/>
              <a:gd name="T113" fmla="*/ 1984 h 12608"/>
              <a:gd name="T114" fmla="*/ 4332 w 11758"/>
              <a:gd name="T115" fmla="*/ 408 h 12608"/>
              <a:gd name="T116" fmla="*/ 4152 w 11758"/>
              <a:gd name="T117" fmla="*/ 833 h 12608"/>
              <a:gd name="T118" fmla="*/ 3896 w 11758"/>
              <a:gd name="T119" fmla="*/ 999 h 12608"/>
              <a:gd name="T120" fmla="*/ 1422 w 11758"/>
              <a:gd name="T121" fmla="*/ 2146 h 12608"/>
              <a:gd name="T122" fmla="*/ 7317 w 11758"/>
              <a:gd name="T123" fmla="*/ 10519 h 12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758" h="12608">
                <a:moveTo>
                  <a:pt x="142" y="3901"/>
                </a:moveTo>
                <a:cubicBezTo>
                  <a:pt x="181" y="3901"/>
                  <a:pt x="216" y="3917"/>
                  <a:pt x="242" y="3942"/>
                </a:cubicBezTo>
                <a:lnTo>
                  <a:pt x="779" y="3517"/>
                </a:lnTo>
                <a:cubicBezTo>
                  <a:pt x="690" y="3415"/>
                  <a:pt x="636" y="3281"/>
                  <a:pt x="636" y="3135"/>
                </a:cubicBezTo>
                <a:cubicBezTo>
                  <a:pt x="636" y="2973"/>
                  <a:pt x="702" y="2827"/>
                  <a:pt x="808" y="2721"/>
                </a:cubicBezTo>
                <a:cubicBezTo>
                  <a:pt x="913" y="2615"/>
                  <a:pt x="1060" y="2550"/>
                  <a:pt x="1221" y="2550"/>
                </a:cubicBezTo>
                <a:cubicBezTo>
                  <a:pt x="1268" y="2550"/>
                  <a:pt x="1314" y="2555"/>
                  <a:pt x="1357" y="2566"/>
                </a:cubicBezTo>
                <a:lnTo>
                  <a:pt x="1389" y="2421"/>
                </a:lnTo>
                <a:cubicBezTo>
                  <a:pt x="1334" y="2402"/>
                  <a:pt x="1295" y="2349"/>
                  <a:pt x="1295" y="2287"/>
                </a:cubicBezTo>
                <a:cubicBezTo>
                  <a:pt x="1295" y="2226"/>
                  <a:pt x="1334" y="2174"/>
                  <a:pt x="1388" y="2154"/>
                </a:cubicBezTo>
                <a:lnTo>
                  <a:pt x="1309" y="1808"/>
                </a:lnTo>
                <a:cubicBezTo>
                  <a:pt x="1304" y="1808"/>
                  <a:pt x="1299" y="1809"/>
                  <a:pt x="1295" y="1809"/>
                </a:cubicBezTo>
                <a:cubicBezTo>
                  <a:pt x="1216" y="1809"/>
                  <a:pt x="1153" y="1745"/>
                  <a:pt x="1153" y="1667"/>
                </a:cubicBezTo>
                <a:cubicBezTo>
                  <a:pt x="1153" y="1588"/>
                  <a:pt x="1216" y="1525"/>
                  <a:pt x="1295" y="1525"/>
                </a:cubicBezTo>
                <a:cubicBezTo>
                  <a:pt x="1344" y="1525"/>
                  <a:pt x="1388" y="1551"/>
                  <a:pt x="1414" y="1589"/>
                </a:cubicBezTo>
                <a:cubicBezTo>
                  <a:pt x="1536" y="1530"/>
                  <a:pt x="1659" y="1470"/>
                  <a:pt x="1781" y="1411"/>
                </a:cubicBezTo>
                <a:cubicBezTo>
                  <a:pt x="1776" y="1397"/>
                  <a:pt x="1773" y="1381"/>
                  <a:pt x="1773" y="1365"/>
                </a:cubicBezTo>
                <a:cubicBezTo>
                  <a:pt x="1773" y="1287"/>
                  <a:pt x="1837" y="1223"/>
                  <a:pt x="1915" y="1223"/>
                </a:cubicBezTo>
                <a:cubicBezTo>
                  <a:pt x="1994" y="1223"/>
                  <a:pt x="2057" y="1287"/>
                  <a:pt x="2057" y="1365"/>
                </a:cubicBezTo>
                <a:cubicBezTo>
                  <a:pt x="2057" y="1406"/>
                  <a:pt x="2040" y="1443"/>
                  <a:pt x="2012" y="1469"/>
                </a:cubicBezTo>
                <a:lnTo>
                  <a:pt x="2219" y="1755"/>
                </a:lnTo>
                <a:cubicBezTo>
                  <a:pt x="2240" y="1744"/>
                  <a:pt x="2263" y="1738"/>
                  <a:pt x="2288" y="1738"/>
                </a:cubicBezTo>
                <a:cubicBezTo>
                  <a:pt x="2332" y="1738"/>
                  <a:pt x="2372" y="1758"/>
                  <a:pt x="2398" y="1790"/>
                </a:cubicBezTo>
                <a:lnTo>
                  <a:pt x="3045" y="1389"/>
                </a:lnTo>
                <a:cubicBezTo>
                  <a:pt x="3037" y="1371"/>
                  <a:pt x="3033" y="1351"/>
                  <a:pt x="3033" y="1330"/>
                </a:cubicBezTo>
                <a:cubicBezTo>
                  <a:pt x="3033" y="1285"/>
                  <a:pt x="3053" y="1245"/>
                  <a:pt x="3085" y="1219"/>
                </a:cubicBezTo>
                <a:lnTo>
                  <a:pt x="3003" y="1086"/>
                </a:lnTo>
                <a:cubicBezTo>
                  <a:pt x="2985" y="1095"/>
                  <a:pt x="2965" y="1099"/>
                  <a:pt x="2944" y="1099"/>
                </a:cubicBezTo>
                <a:cubicBezTo>
                  <a:pt x="2866" y="1099"/>
                  <a:pt x="2802" y="1036"/>
                  <a:pt x="2802" y="957"/>
                </a:cubicBezTo>
                <a:cubicBezTo>
                  <a:pt x="2802" y="879"/>
                  <a:pt x="2866" y="816"/>
                  <a:pt x="2944" y="816"/>
                </a:cubicBezTo>
                <a:cubicBezTo>
                  <a:pt x="3008" y="816"/>
                  <a:pt x="3062" y="858"/>
                  <a:pt x="3080" y="917"/>
                </a:cubicBezTo>
                <a:lnTo>
                  <a:pt x="3766" y="801"/>
                </a:lnTo>
                <a:cubicBezTo>
                  <a:pt x="3739" y="734"/>
                  <a:pt x="3724" y="661"/>
                  <a:pt x="3724" y="585"/>
                </a:cubicBezTo>
                <a:cubicBezTo>
                  <a:pt x="3724" y="423"/>
                  <a:pt x="3790" y="277"/>
                  <a:pt x="3896" y="171"/>
                </a:cubicBezTo>
                <a:cubicBezTo>
                  <a:pt x="4002" y="66"/>
                  <a:pt x="4148" y="0"/>
                  <a:pt x="4309" y="0"/>
                </a:cubicBezTo>
                <a:cubicBezTo>
                  <a:pt x="4471" y="0"/>
                  <a:pt x="4617" y="66"/>
                  <a:pt x="4723" y="171"/>
                </a:cubicBezTo>
                <a:cubicBezTo>
                  <a:pt x="4829" y="277"/>
                  <a:pt x="4894" y="423"/>
                  <a:pt x="4894" y="585"/>
                </a:cubicBezTo>
                <a:cubicBezTo>
                  <a:pt x="4894" y="747"/>
                  <a:pt x="4829" y="893"/>
                  <a:pt x="4723" y="999"/>
                </a:cubicBezTo>
                <a:cubicBezTo>
                  <a:pt x="4617" y="1104"/>
                  <a:pt x="4471" y="1170"/>
                  <a:pt x="4309" y="1170"/>
                </a:cubicBezTo>
                <a:cubicBezTo>
                  <a:pt x="4303" y="1170"/>
                  <a:pt x="4297" y="1170"/>
                  <a:pt x="4290" y="1170"/>
                </a:cubicBezTo>
                <a:lnTo>
                  <a:pt x="4268" y="1439"/>
                </a:lnTo>
                <a:cubicBezTo>
                  <a:pt x="4325" y="1451"/>
                  <a:pt x="4370" y="1498"/>
                  <a:pt x="4379" y="1556"/>
                </a:cubicBezTo>
                <a:lnTo>
                  <a:pt x="4797" y="1544"/>
                </a:lnTo>
                <a:cubicBezTo>
                  <a:pt x="4794" y="1520"/>
                  <a:pt x="4792" y="1495"/>
                  <a:pt x="4792" y="1470"/>
                </a:cubicBezTo>
                <a:cubicBezTo>
                  <a:pt x="4792" y="1308"/>
                  <a:pt x="4858" y="1162"/>
                  <a:pt x="4964" y="1056"/>
                </a:cubicBezTo>
                <a:cubicBezTo>
                  <a:pt x="5070" y="950"/>
                  <a:pt x="5216" y="885"/>
                  <a:pt x="5377" y="885"/>
                </a:cubicBezTo>
                <a:cubicBezTo>
                  <a:pt x="5539" y="885"/>
                  <a:pt x="5685" y="950"/>
                  <a:pt x="5791" y="1056"/>
                </a:cubicBezTo>
                <a:cubicBezTo>
                  <a:pt x="5877" y="1142"/>
                  <a:pt x="5936" y="1255"/>
                  <a:pt x="5956" y="1381"/>
                </a:cubicBezTo>
                <a:lnTo>
                  <a:pt x="6670" y="1175"/>
                </a:lnTo>
                <a:cubicBezTo>
                  <a:pt x="6669" y="1167"/>
                  <a:pt x="6668" y="1160"/>
                  <a:pt x="6668" y="1152"/>
                </a:cubicBezTo>
                <a:cubicBezTo>
                  <a:pt x="6668" y="1074"/>
                  <a:pt x="6731" y="1011"/>
                  <a:pt x="6810" y="1011"/>
                </a:cubicBezTo>
                <a:cubicBezTo>
                  <a:pt x="6888" y="1011"/>
                  <a:pt x="6952" y="1074"/>
                  <a:pt x="6952" y="1152"/>
                </a:cubicBezTo>
                <a:cubicBezTo>
                  <a:pt x="6952" y="1202"/>
                  <a:pt x="6926" y="1246"/>
                  <a:pt x="6887" y="1271"/>
                </a:cubicBezTo>
                <a:lnTo>
                  <a:pt x="7101" y="1710"/>
                </a:lnTo>
                <a:cubicBezTo>
                  <a:pt x="7115" y="1705"/>
                  <a:pt x="7131" y="1702"/>
                  <a:pt x="7147" y="1702"/>
                </a:cubicBezTo>
                <a:cubicBezTo>
                  <a:pt x="7225" y="1702"/>
                  <a:pt x="7289" y="1766"/>
                  <a:pt x="7289" y="1844"/>
                </a:cubicBezTo>
                <a:cubicBezTo>
                  <a:pt x="7289" y="1858"/>
                  <a:pt x="7287" y="1871"/>
                  <a:pt x="7283" y="1883"/>
                </a:cubicBezTo>
                <a:lnTo>
                  <a:pt x="11280" y="3582"/>
                </a:lnTo>
                <a:cubicBezTo>
                  <a:pt x="11305" y="3539"/>
                  <a:pt x="11350" y="3511"/>
                  <a:pt x="11403" y="3511"/>
                </a:cubicBezTo>
                <a:cubicBezTo>
                  <a:pt x="11481" y="3511"/>
                  <a:pt x="11545" y="3575"/>
                  <a:pt x="11545" y="3653"/>
                </a:cubicBezTo>
                <a:cubicBezTo>
                  <a:pt x="11545" y="3731"/>
                  <a:pt x="11481" y="3795"/>
                  <a:pt x="11403" y="3795"/>
                </a:cubicBezTo>
                <a:cubicBezTo>
                  <a:pt x="11400" y="3795"/>
                  <a:pt x="11398" y="3795"/>
                  <a:pt x="11395" y="3795"/>
                </a:cubicBezTo>
                <a:lnTo>
                  <a:pt x="11298" y="4339"/>
                </a:lnTo>
                <a:cubicBezTo>
                  <a:pt x="11410" y="4363"/>
                  <a:pt x="11509" y="4419"/>
                  <a:pt x="11587" y="4497"/>
                </a:cubicBezTo>
                <a:cubicBezTo>
                  <a:pt x="11692" y="4603"/>
                  <a:pt x="11758" y="4749"/>
                  <a:pt x="11758" y="4910"/>
                </a:cubicBezTo>
                <a:cubicBezTo>
                  <a:pt x="11758" y="5072"/>
                  <a:pt x="11692" y="5218"/>
                  <a:pt x="11587" y="5324"/>
                </a:cubicBezTo>
                <a:cubicBezTo>
                  <a:pt x="11481" y="5430"/>
                  <a:pt x="11335" y="5495"/>
                  <a:pt x="11173" y="5495"/>
                </a:cubicBezTo>
                <a:cubicBezTo>
                  <a:pt x="11023" y="5495"/>
                  <a:pt x="10886" y="5439"/>
                  <a:pt x="10783" y="5346"/>
                </a:cubicBezTo>
                <a:lnTo>
                  <a:pt x="10364" y="5749"/>
                </a:lnTo>
                <a:cubicBezTo>
                  <a:pt x="10381" y="5773"/>
                  <a:pt x="10392" y="5802"/>
                  <a:pt x="10392" y="5834"/>
                </a:cubicBezTo>
                <a:cubicBezTo>
                  <a:pt x="10392" y="5912"/>
                  <a:pt x="10328" y="5976"/>
                  <a:pt x="10250" y="5976"/>
                </a:cubicBezTo>
                <a:cubicBezTo>
                  <a:pt x="10243" y="5976"/>
                  <a:pt x="10236" y="5975"/>
                  <a:pt x="10229" y="5974"/>
                </a:cubicBezTo>
                <a:lnTo>
                  <a:pt x="9584" y="8294"/>
                </a:lnTo>
                <a:cubicBezTo>
                  <a:pt x="9693" y="8319"/>
                  <a:pt x="9790" y="8374"/>
                  <a:pt x="9866" y="8450"/>
                </a:cubicBezTo>
                <a:cubicBezTo>
                  <a:pt x="9971" y="8556"/>
                  <a:pt x="10037" y="8702"/>
                  <a:pt x="10037" y="8864"/>
                </a:cubicBezTo>
                <a:cubicBezTo>
                  <a:pt x="10037" y="9026"/>
                  <a:pt x="9971" y="9172"/>
                  <a:pt x="9866" y="9278"/>
                </a:cubicBezTo>
                <a:cubicBezTo>
                  <a:pt x="9760" y="9383"/>
                  <a:pt x="9614" y="9449"/>
                  <a:pt x="9452" y="9449"/>
                </a:cubicBezTo>
                <a:cubicBezTo>
                  <a:pt x="9290" y="9449"/>
                  <a:pt x="9144" y="9383"/>
                  <a:pt x="9038" y="9278"/>
                </a:cubicBezTo>
                <a:cubicBezTo>
                  <a:pt x="8979" y="9218"/>
                  <a:pt x="8933" y="9146"/>
                  <a:pt x="8903" y="9066"/>
                </a:cubicBezTo>
                <a:lnTo>
                  <a:pt x="7656" y="9591"/>
                </a:lnTo>
                <a:cubicBezTo>
                  <a:pt x="7659" y="9603"/>
                  <a:pt x="7661" y="9616"/>
                  <a:pt x="7661" y="9629"/>
                </a:cubicBezTo>
                <a:cubicBezTo>
                  <a:pt x="7661" y="9706"/>
                  <a:pt x="7600" y="9768"/>
                  <a:pt x="7524" y="9771"/>
                </a:cubicBezTo>
                <a:lnTo>
                  <a:pt x="7461" y="10466"/>
                </a:lnTo>
                <a:cubicBezTo>
                  <a:pt x="7525" y="10480"/>
                  <a:pt x="7572" y="10536"/>
                  <a:pt x="7572" y="10604"/>
                </a:cubicBezTo>
                <a:cubicBezTo>
                  <a:pt x="7572" y="10683"/>
                  <a:pt x="7509" y="10746"/>
                  <a:pt x="7430" y="10746"/>
                </a:cubicBezTo>
                <a:cubicBezTo>
                  <a:pt x="7410" y="10746"/>
                  <a:pt x="7390" y="10742"/>
                  <a:pt x="7372" y="10734"/>
                </a:cubicBezTo>
                <a:lnTo>
                  <a:pt x="6862" y="11572"/>
                </a:lnTo>
                <a:cubicBezTo>
                  <a:pt x="6876" y="11583"/>
                  <a:pt x="6890" y="11596"/>
                  <a:pt x="6904" y="11609"/>
                </a:cubicBezTo>
                <a:cubicBezTo>
                  <a:pt x="7009" y="11715"/>
                  <a:pt x="7075" y="11861"/>
                  <a:pt x="7075" y="12023"/>
                </a:cubicBezTo>
                <a:cubicBezTo>
                  <a:pt x="7075" y="12184"/>
                  <a:pt x="7009" y="12331"/>
                  <a:pt x="6904" y="12436"/>
                </a:cubicBezTo>
                <a:cubicBezTo>
                  <a:pt x="6798" y="12542"/>
                  <a:pt x="6651" y="12608"/>
                  <a:pt x="6490" y="12608"/>
                </a:cubicBezTo>
                <a:cubicBezTo>
                  <a:pt x="6328" y="12608"/>
                  <a:pt x="6182" y="12542"/>
                  <a:pt x="6076" y="12436"/>
                </a:cubicBezTo>
                <a:cubicBezTo>
                  <a:pt x="5970" y="12331"/>
                  <a:pt x="5905" y="12184"/>
                  <a:pt x="5905" y="12023"/>
                </a:cubicBezTo>
                <a:cubicBezTo>
                  <a:pt x="5905" y="11943"/>
                  <a:pt x="5921" y="11868"/>
                  <a:pt x="5950" y="11799"/>
                </a:cubicBezTo>
                <a:cubicBezTo>
                  <a:pt x="5698" y="11627"/>
                  <a:pt x="5447" y="11455"/>
                  <a:pt x="5196" y="11284"/>
                </a:cubicBezTo>
                <a:cubicBezTo>
                  <a:pt x="5170" y="11313"/>
                  <a:pt x="5132" y="11332"/>
                  <a:pt x="5090" y="11332"/>
                </a:cubicBezTo>
                <a:cubicBezTo>
                  <a:pt x="5011" y="11332"/>
                  <a:pt x="4948" y="11268"/>
                  <a:pt x="4948" y="11190"/>
                </a:cubicBezTo>
                <a:cubicBezTo>
                  <a:pt x="4948" y="11111"/>
                  <a:pt x="5011" y="11048"/>
                  <a:pt x="5090" y="11048"/>
                </a:cubicBezTo>
                <a:cubicBezTo>
                  <a:pt x="5111" y="11048"/>
                  <a:pt x="5131" y="11053"/>
                  <a:pt x="5149" y="11061"/>
                </a:cubicBezTo>
                <a:lnTo>
                  <a:pt x="5677" y="10217"/>
                </a:lnTo>
                <a:cubicBezTo>
                  <a:pt x="5638" y="10192"/>
                  <a:pt x="5602" y="10164"/>
                  <a:pt x="5569" y="10132"/>
                </a:cubicBezTo>
                <a:cubicBezTo>
                  <a:pt x="5464" y="10026"/>
                  <a:pt x="5398" y="9879"/>
                  <a:pt x="5398" y="9718"/>
                </a:cubicBezTo>
                <a:cubicBezTo>
                  <a:pt x="5398" y="9572"/>
                  <a:pt x="5452" y="9438"/>
                  <a:pt x="5541" y="9335"/>
                </a:cubicBezTo>
                <a:lnTo>
                  <a:pt x="4872" y="8626"/>
                </a:lnTo>
                <a:cubicBezTo>
                  <a:pt x="4849" y="8644"/>
                  <a:pt x="4820" y="8654"/>
                  <a:pt x="4788" y="8654"/>
                </a:cubicBezTo>
                <a:cubicBezTo>
                  <a:pt x="4710" y="8654"/>
                  <a:pt x="4646" y="8590"/>
                  <a:pt x="4646" y="8512"/>
                </a:cubicBezTo>
                <a:cubicBezTo>
                  <a:pt x="4646" y="8446"/>
                  <a:pt x="4691" y="8391"/>
                  <a:pt x="4752" y="8375"/>
                </a:cubicBezTo>
                <a:lnTo>
                  <a:pt x="4610" y="7342"/>
                </a:lnTo>
                <a:cubicBezTo>
                  <a:pt x="4596" y="7343"/>
                  <a:pt x="4582" y="7344"/>
                  <a:pt x="4567" y="7344"/>
                </a:cubicBezTo>
                <a:cubicBezTo>
                  <a:pt x="4406" y="7344"/>
                  <a:pt x="4260" y="7278"/>
                  <a:pt x="4154" y="7173"/>
                </a:cubicBezTo>
                <a:cubicBezTo>
                  <a:pt x="4048" y="7067"/>
                  <a:pt x="3983" y="6921"/>
                  <a:pt x="3983" y="6759"/>
                </a:cubicBezTo>
                <a:cubicBezTo>
                  <a:pt x="3983" y="6646"/>
                  <a:pt x="4015" y="6540"/>
                  <a:pt x="4070" y="6451"/>
                </a:cubicBezTo>
                <a:lnTo>
                  <a:pt x="2492" y="5157"/>
                </a:lnTo>
                <a:cubicBezTo>
                  <a:pt x="2466" y="5181"/>
                  <a:pt x="2432" y="5196"/>
                  <a:pt x="2394" y="5196"/>
                </a:cubicBezTo>
                <a:cubicBezTo>
                  <a:pt x="2327" y="5196"/>
                  <a:pt x="2271" y="5150"/>
                  <a:pt x="2256" y="5088"/>
                </a:cubicBezTo>
                <a:lnTo>
                  <a:pt x="1759" y="5145"/>
                </a:lnTo>
                <a:cubicBezTo>
                  <a:pt x="1759" y="5150"/>
                  <a:pt x="1759" y="5154"/>
                  <a:pt x="1759" y="5158"/>
                </a:cubicBezTo>
                <a:cubicBezTo>
                  <a:pt x="1759" y="5320"/>
                  <a:pt x="1693" y="5466"/>
                  <a:pt x="1588" y="5572"/>
                </a:cubicBezTo>
                <a:cubicBezTo>
                  <a:pt x="1482" y="5678"/>
                  <a:pt x="1335" y="5743"/>
                  <a:pt x="1174" y="5743"/>
                </a:cubicBezTo>
                <a:cubicBezTo>
                  <a:pt x="1012" y="5743"/>
                  <a:pt x="866" y="5678"/>
                  <a:pt x="760" y="5572"/>
                </a:cubicBezTo>
                <a:cubicBezTo>
                  <a:pt x="655" y="5466"/>
                  <a:pt x="589" y="5320"/>
                  <a:pt x="589" y="5158"/>
                </a:cubicBezTo>
                <a:cubicBezTo>
                  <a:pt x="589" y="5001"/>
                  <a:pt x="651" y="4858"/>
                  <a:pt x="752" y="4753"/>
                </a:cubicBezTo>
                <a:cubicBezTo>
                  <a:pt x="576" y="4555"/>
                  <a:pt x="399" y="4358"/>
                  <a:pt x="223" y="4160"/>
                </a:cubicBezTo>
                <a:cubicBezTo>
                  <a:pt x="200" y="4176"/>
                  <a:pt x="172" y="4185"/>
                  <a:pt x="142" y="4185"/>
                </a:cubicBezTo>
                <a:cubicBezTo>
                  <a:pt x="64" y="4185"/>
                  <a:pt x="0" y="4121"/>
                  <a:pt x="0" y="4043"/>
                </a:cubicBezTo>
                <a:cubicBezTo>
                  <a:pt x="0" y="3965"/>
                  <a:pt x="64" y="3901"/>
                  <a:pt x="142" y="3901"/>
                </a:cubicBezTo>
                <a:close/>
                <a:moveTo>
                  <a:pt x="6865" y="11974"/>
                </a:moveTo>
                <a:lnTo>
                  <a:pt x="6865" y="11965"/>
                </a:lnTo>
                <a:cubicBezTo>
                  <a:pt x="6865" y="11930"/>
                  <a:pt x="6836" y="11902"/>
                  <a:pt x="6802" y="11902"/>
                </a:cubicBezTo>
                <a:lnTo>
                  <a:pt x="6799" y="11902"/>
                </a:lnTo>
                <a:cubicBezTo>
                  <a:pt x="6799" y="11732"/>
                  <a:pt x="6660" y="11593"/>
                  <a:pt x="6490" y="11593"/>
                </a:cubicBezTo>
                <a:cubicBezTo>
                  <a:pt x="6320" y="11593"/>
                  <a:pt x="6181" y="11732"/>
                  <a:pt x="6181" y="11902"/>
                </a:cubicBezTo>
                <a:lnTo>
                  <a:pt x="6178" y="11902"/>
                </a:lnTo>
                <a:cubicBezTo>
                  <a:pt x="6143" y="11902"/>
                  <a:pt x="6115" y="11930"/>
                  <a:pt x="6115" y="11965"/>
                </a:cubicBezTo>
                <a:lnTo>
                  <a:pt x="6115" y="11974"/>
                </a:lnTo>
                <a:cubicBezTo>
                  <a:pt x="6095" y="11974"/>
                  <a:pt x="6078" y="11991"/>
                  <a:pt x="6078" y="12011"/>
                </a:cubicBezTo>
                <a:lnTo>
                  <a:pt x="6078" y="12143"/>
                </a:lnTo>
                <a:cubicBezTo>
                  <a:pt x="6078" y="12164"/>
                  <a:pt x="6095" y="12180"/>
                  <a:pt x="6115" y="12180"/>
                </a:cubicBezTo>
                <a:lnTo>
                  <a:pt x="6115" y="12190"/>
                </a:lnTo>
                <a:cubicBezTo>
                  <a:pt x="6115" y="12225"/>
                  <a:pt x="6143" y="12253"/>
                  <a:pt x="6178" y="12253"/>
                </a:cubicBezTo>
                <a:lnTo>
                  <a:pt x="6233" y="12253"/>
                </a:lnTo>
                <a:cubicBezTo>
                  <a:pt x="6267" y="12253"/>
                  <a:pt x="6296" y="12225"/>
                  <a:pt x="6296" y="12190"/>
                </a:cubicBezTo>
                <a:lnTo>
                  <a:pt x="6296" y="11965"/>
                </a:lnTo>
                <a:cubicBezTo>
                  <a:pt x="6296" y="11930"/>
                  <a:pt x="6267" y="11902"/>
                  <a:pt x="6233" y="11902"/>
                </a:cubicBezTo>
                <a:lnTo>
                  <a:pt x="6229" y="11902"/>
                </a:lnTo>
                <a:cubicBezTo>
                  <a:pt x="6229" y="11758"/>
                  <a:pt x="6346" y="11641"/>
                  <a:pt x="6490" y="11641"/>
                </a:cubicBezTo>
                <a:cubicBezTo>
                  <a:pt x="6633" y="11641"/>
                  <a:pt x="6750" y="11758"/>
                  <a:pt x="6750" y="11902"/>
                </a:cubicBezTo>
                <a:lnTo>
                  <a:pt x="6747" y="11902"/>
                </a:lnTo>
                <a:cubicBezTo>
                  <a:pt x="6712" y="11902"/>
                  <a:pt x="6684" y="11930"/>
                  <a:pt x="6684" y="11965"/>
                </a:cubicBezTo>
                <a:lnTo>
                  <a:pt x="6684" y="12190"/>
                </a:lnTo>
                <a:cubicBezTo>
                  <a:pt x="6684" y="12225"/>
                  <a:pt x="6712" y="12253"/>
                  <a:pt x="6747" y="12253"/>
                </a:cubicBezTo>
                <a:lnTo>
                  <a:pt x="6802" y="12253"/>
                </a:lnTo>
                <a:cubicBezTo>
                  <a:pt x="6836" y="12253"/>
                  <a:pt x="6865" y="12225"/>
                  <a:pt x="6865" y="12190"/>
                </a:cubicBezTo>
                <a:lnTo>
                  <a:pt x="6865" y="12180"/>
                </a:lnTo>
                <a:cubicBezTo>
                  <a:pt x="6885" y="12180"/>
                  <a:pt x="6902" y="12164"/>
                  <a:pt x="6902" y="12143"/>
                </a:cubicBezTo>
                <a:lnTo>
                  <a:pt x="6902" y="12011"/>
                </a:lnTo>
                <a:cubicBezTo>
                  <a:pt x="6902" y="11991"/>
                  <a:pt x="6885" y="11974"/>
                  <a:pt x="6865" y="11974"/>
                </a:cubicBezTo>
                <a:close/>
                <a:moveTo>
                  <a:pt x="6834" y="11550"/>
                </a:moveTo>
                <a:lnTo>
                  <a:pt x="7342" y="10716"/>
                </a:lnTo>
                <a:cubicBezTo>
                  <a:pt x="7310" y="10690"/>
                  <a:pt x="7289" y="10649"/>
                  <a:pt x="7289" y="10604"/>
                </a:cubicBezTo>
                <a:cubicBezTo>
                  <a:pt x="7289" y="10585"/>
                  <a:pt x="7292" y="10567"/>
                  <a:pt x="7300" y="10550"/>
                </a:cubicBezTo>
                <a:lnTo>
                  <a:pt x="6739" y="10228"/>
                </a:lnTo>
                <a:lnTo>
                  <a:pt x="6593" y="11447"/>
                </a:lnTo>
                <a:cubicBezTo>
                  <a:pt x="6682" y="11463"/>
                  <a:pt x="6764" y="11499"/>
                  <a:pt x="6834" y="11550"/>
                </a:cubicBezTo>
                <a:close/>
                <a:moveTo>
                  <a:pt x="6558" y="11442"/>
                </a:moveTo>
                <a:lnTo>
                  <a:pt x="6706" y="10209"/>
                </a:lnTo>
                <a:lnTo>
                  <a:pt x="6454" y="10065"/>
                </a:lnTo>
                <a:cubicBezTo>
                  <a:pt x="6436" y="10089"/>
                  <a:pt x="6417" y="10111"/>
                  <a:pt x="6397" y="10132"/>
                </a:cubicBezTo>
                <a:cubicBezTo>
                  <a:pt x="6291" y="10237"/>
                  <a:pt x="6144" y="10303"/>
                  <a:pt x="5983" y="10303"/>
                </a:cubicBezTo>
                <a:cubicBezTo>
                  <a:pt x="5883" y="10303"/>
                  <a:pt x="5790" y="10278"/>
                  <a:pt x="5708" y="10234"/>
                </a:cubicBezTo>
                <a:lnTo>
                  <a:pt x="5179" y="11080"/>
                </a:lnTo>
                <a:cubicBezTo>
                  <a:pt x="5211" y="11106"/>
                  <a:pt x="5231" y="11145"/>
                  <a:pt x="5231" y="11190"/>
                </a:cubicBezTo>
                <a:cubicBezTo>
                  <a:pt x="5231" y="11213"/>
                  <a:pt x="5226" y="11235"/>
                  <a:pt x="5216" y="11255"/>
                </a:cubicBezTo>
                <a:lnTo>
                  <a:pt x="5964" y="11766"/>
                </a:lnTo>
                <a:cubicBezTo>
                  <a:pt x="5993" y="11708"/>
                  <a:pt x="6031" y="11655"/>
                  <a:pt x="6076" y="11609"/>
                </a:cubicBezTo>
                <a:cubicBezTo>
                  <a:pt x="6182" y="11503"/>
                  <a:pt x="6328" y="11438"/>
                  <a:pt x="6490" y="11438"/>
                </a:cubicBezTo>
                <a:cubicBezTo>
                  <a:pt x="6513" y="11438"/>
                  <a:pt x="6535" y="11439"/>
                  <a:pt x="6558" y="11442"/>
                </a:cubicBezTo>
                <a:close/>
                <a:moveTo>
                  <a:pt x="6854" y="11659"/>
                </a:moveTo>
                <a:cubicBezTo>
                  <a:pt x="6761" y="11566"/>
                  <a:pt x="6632" y="11508"/>
                  <a:pt x="6490" y="11508"/>
                </a:cubicBezTo>
                <a:cubicBezTo>
                  <a:pt x="6348" y="11508"/>
                  <a:pt x="6219" y="11566"/>
                  <a:pt x="6126" y="11659"/>
                </a:cubicBezTo>
                <a:cubicBezTo>
                  <a:pt x="6033" y="11752"/>
                  <a:pt x="5975" y="11881"/>
                  <a:pt x="5975" y="12023"/>
                </a:cubicBezTo>
                <a:cubicBezTo>
                  <a:pt x="5975" y="12165"/>
                  <a:pt x="6033" y="12294"/>
                  <a:pt x="6126" y="12387"/>
                </a:cubicBezTo>
                <a:cubicBezTo>
                  <a:pt x="6219" y="12480"/>
                  <a:pt x="6348" y="12537"/>
                  <a:pt x="6490" y="12537"/>
                </a:cubicBezTo>
                <a:cubicBezTo>
                  <a:pt x="6632" y="12537"/>
                  <a:pt x="6761" y="12480"/>
                  <a:pt x="6854" y="12387"/>
                </a:cubicBezTo>
                <a:cubicBezTo>
                  <a:pt x="6947" y="12294"/>
                  <a:pt x="7004" y="12165"/>
                  <a:pt x="7004" y="12023"/>
                </a:cubicBezTo>
                <a:cubicBezTo>
                  <a:pt x="7004" y="11881"/>
                  <a:pt x="6947" y="11752"/>
                  <a:pt x="6854" y="11659"/>
                </a:cubicBezTo>
                <a:close/>
                <a:moveTo>
                  <a:pt x="9541" y="9116"/>
                </a:moveTo>
                <a:lnTo>
                  <a:pt x="9380" y="9116"/>
                </a:lnTo>
                <a:lnTo>
                  <a:pt x="9380" y="9097"/>
                </a:lnTo>
                <a:lnTo>
                  <a:pt x="9541" y="9097"/>
                </a:lnTo>
                <a:lnTo>
                  <a:pt x="9541" y="9116"/>
                </a:lnTo>
                <a:close/>
                <a:moveTo>
                  <a:pt x="9055" y="9085"/>
                </a:moveTo>
                <a:lnTo>
                  <a:pt x="9055" y="9134"/>
                </a:lnTo>
                <a:lnTo>
                  <a:pt x="9849" y="9135"/>
                </a:lnTo>
                <a:lnTo>
                  <a:pt x="9849" y="9086"/>
                </a:lnTo>
                <a:lnTo>
                  <a:pt x="9055" y="9085"/>
                </a:lnTo>
                <a:close/>
                <a:moveTo>
                  <a:pt x="9742" y="9015"/>
                </a:moveTo>
                <a:lnTo>
                  <a:pt x="9142" y="9015"/>
                </a:lnTo>
                <a:lnTo>
                  <a:pt x="9143" y="8638"/>
                </a:lnTo>
                <a:lnTo>
                  <a:pt x="9743" y="8638"/>
                </a:lnTo>
                <a:lnTo>
                  <a:pt x="9742" y="9015"/>
                </a:lnTo>
                <a:close/>
                <a:moveTo>
                  <a:pt x="9788" y="8593"/>
                </a:moveTo>
                <a:lnTo>
                  <a:pt x="9098" y="8593"/>
                </a:lnTo>
                <a:lnTo>
                  <a:pt x="9097" y="9060"/>
                </a:lnTo>
                <a:lnTo>
                  <a:pt x="9787" y="9060"/>
                </a:lnTo>
                <a:lnTo>
                  <a:pt x="9788" y="8593"/>
                </a:lnTo>
                <a:close/>
                <a:moveTo>
                  <a:pt x="9550" y="8287"/>
                </a:moveTo>
                <a:lnTo>
                  <a:pt x="10195" y="5965"/>
                </a:lnTo>
                <a:cubicBezTo>
                  <a:pt x="10169" y="5954"/>
                  <a:pt x="10147" y="5935"/>
                  <a:pt x="10131" y="5912"/>
                </a:cubicBezTo>
                <a:lnTo>
                  <a:pt x="9282" y="6328"/>
                </a:lnTo>
                <a:cubicBezTo>
                  <a:pt x="9336" y="6417"/>
                  <a:pt x="9368" y="6521"/>
                  <a:pt x="9368" y="6632"/>
                </a:cubicBezTo>
                <a:cubicBezTo>
                  <a:pt x="9368" y="6794"/>
                  <a:pt x="9302" y="6940"/>
                  <a:pt x="9196" y="7046"/>
                </a:cubicBezTo>
                <a:cubicBezTo>
                  <a:pt x="9133" y="7109"/>
                  <a:pt x="9054" y="7158"/>
                  <a:pt x="8967" y="7187"/>
                </a:cubicBezTo>
                <a:lnTo>
                  <a:pt x="9285" y="8303"/>
                </a:lnTo>
                <a:cubicBezTo>
                  <a:pt x="9338" y="8288"/>
                  <a:pt x="9394" y="8279"/>
                  <a:pt x="9452" y="8279"/>
                </a:cubicBezTo>
                <a:cubicBezTo>
                  <a:pt x="9485" y="8279"/>
                  <a:pt x="9518" y="8282"/>
                  <a:pt x="9550" y="8287"/>
                </a:cubicBezTo>
                <a:close/>
                <a:moveTo>
                  <a:pt x="9251" y="8314"/>
                </a:moveTo>
                <a:lnTo>
                  <a:pt x="8933" y="7197"/>
                </a:lnTo>
                <a:cubicBezTo>
                  <a:pt x="8885" y="7210"/>
                  <a:pt x="8835" y="7217"/>
                  <a:pt x="8783" y="7217"/>
                </a:cubicBezTo>
                <a:cubicBezTo>
                  <a:pt x="8621" y="7217"/>
                  <a:pt x="8475" y="7151"/>
                  <a:pt x="8369" y="7046"/>
                </a:cubicBezTo>
                <a:cubicBezTo>
                  <a:pt x="8311" y="6988"/>
                  <a:pt x="8266" y="6918"/>
                  <a:pt x="8236" y="6841"/>
                </a:cubicBezTo>
                <a:lnTo>
                  <a:pt x="7569" y="7168"/>
                </a:lnTo>
                <a:cubicBezTo>
                  <a:pt x="7599" y="7239"/>
                  <a:pt x="7616" y="7317"/>
                  <a:pt x="7616" y="7398"/>
                </a:cubicBezTo>
                <a:cubicBezTo>
                  <a:pt x="7616" y="7560"/>
                  <a:pt x="7550" y="7706"/>
                  <a:pt x="7444" y="7812"/>
                </a:cubicBezTo>
                <a:cubicBezTo>
                  <a:pt x="7338" y="7918"/>
                  <a:pt x="7192" y="7983"/>
                  <a:pt x="7031" y="7983"/>
                </a:cubicBezTo>
                <a:cubicBezTo>
                  <a:pt x="7024" y="7983"/>
                  <a:pt x="7016" y="7983"/>
                  <a:pt x="7009" y="7983"/>
                </a:cubicBezTo>
                <a:lnTo>
                  <a:pt x="6930" y="8642"/>
                </a:lnTo>
                <a:lnTo>
                  <a:pt x="8874" y="8776"/>
                </a:lnTo>
                <a:cubicBezTo>
                  <a:pt x="8893" y="8650"/>
                  <a:pt x="8952" y="8537"/>
                  <a:pt x="9038" y="8450"/>
                </a:cubicBezTo>
                <a:cubicBezTo>
                  <a:pt x="9098" y="8391"/>
                  <a:pt x="9171" y="8344"/>
                  <a:pt x="9251" y="8314"/>
                </a:cubicBezTo>
                <a:close/>
                <a:moveTo>
                  <a:pt x="8869" y="8811"/>
                </a:moveTo>
                <a:lnTo>
                  <a:pt x="6926" y="8677"/>
                </a:lnTo>
                <a:lnTo>
                  <a:pt x="6847" y="9335"/>
                </a:lnTo>
                <a:lnTo>
                  <a:pt x="7395" y="9560"/>
                </a:lnTo>
                <a:cubicBezTo>
                  <a:pt x="7420" y="9516"/>
                  <a:pt x="7466" y="9487"/>
                  <a:pt x="7519" y="9487"/>
                </a:cubicBezTo>
                <a:cubicBezTo>
                  <a:pt x="7572" y="9487"/>
                  <a:pt x="7618" y="9516"/>
                  <a:pt x="7642" y="9558"/>
                </a:cubicBezTo>
                <a:lnTo>
                  <a:pt x="8892" y="9033"/>
                </a:lnTo>
                <a:cubicBezTo>
                  <a:pt x="8876" y="8979"/>
                  <a:pt x="8867" y="8923"/>
                  <a:pt x="8867" y="8864"/>
                </a:cubicBezTo>
                <a:cubicBezTo>
                  <a:pt x="8867" y="8846"/>
                  <a:pt x="8868" y="8828"/>
                  <a:pt x="8869" y="8811"/>
                </a:cubicBezTo>
                <a:close/>
                <a:moveTo>
                  <a:pt x="9816" y="8500"/>
                </a:moveTo>
                <a:cubicBezTo>
                  <a:pt x="9723" y="8407"/>
                  <a:pt x="9594" y="8350"/>
                  <a:pt x="9452" y="8350"/>
                </a:cubicBezTo>
                <a:cubicBezTo>
                  <a:pt x="9310" y="8350"/>
                  <a:pt x="9181" y="8407"/>
                  <a:pt x="9088" y="8500"/>
                </a:cubicBezTo>
                <a:cubicBezTo>
                  <a:pt x="8995" y="8593"/>
                  <a:pt x="8938" y="8722"/>
                  <a:pt x="8938" y="8864"/>
                </a:cubicBezTo>
                <a:cubicBezTo>
                  <a:pt x="8938" y="9006"/>
                  <a:pt x="8995" y="9135"/>
                  <a:pt x="9088" y="9228"/>
                </a:cubicBezTo>
                <a:cubicBezTo>
                  <a:pt x="9181" y="9321"/>
                  <a:pt x="9310" y="9378"/>
                  <a:pt x="9452" y="9378"/>
                </a:cubicBezTo>
                <a:cubicBezTo>
                  <a:pt x="9594" y="9378"/>
                  <a:pt x="9723" y="9321"/>
                  <a:pt x="9816" y="9228"/>
                </a:cubicBezTo>
                <a:cubicBezTo>
                  <a:pt x="9909" y="9135"/>
                  <a:pt x="9966" y="9006"/>
                  <a:pt x="9966" y="8864"/>
                </a:cubicBezTo>
                <a:cubicBezTo>
                  <a:pt x="9966" y="8722"/>
                  <a:pt x="9909" y="8593"/>
                  <a:pt x="9816" y="8500"/>
                </a:cubicBezTo>
                <a:close/>
                <a:moveTo>
                  <a:pt x="6201" y="9847"/>
                </a:moveTo>
                <a:cubicBezTo>
                  <a:pt x="6199" y="9859"/>
                  <a:pt x="6189" y="9868"/>
                  <a:pt x="6179" y="9867"/>
                </a:cubicBezTo>
                <a:lnTo>
                  <a:pt x="5959" y="9831"/>
                </a:lnTo>
                <a:cubicBezTo>
                  <a:pt x="5960" y="9837"/>
                  <a:pt x="5960" y="9843"/>
                  <a:pt x="5959" y="9849"/>
                </a:cubicBezTo>
                <a:cubicBezTo>
                  <a:pt x="5958" y="9859"/>
                  <a:pt x="5953" y="9869"/>
                  <a:pt x="5946" y="9877"/>
                </a:cubicBezTo>
                <a:cubicBezTo>
                  <a:pt x="5940" y="9886"/>
                  <a:pt x="5930" y="9892"/>
                  <a:pt x="5919" y="9896"/>
                </a:cubicBezTo>
                <a:lnTo>
                  <a:pt x="5919" y="9897"/>
                </a:lnTo>
                <a:cubicBezTo>
                  <a:pt x="5930" y="9904"/>
                  <a:pt x="5938" y="9913"/>
                  <a:pt x="5943" y="9923"/>
                </a:cubicBezTo>
                <a:cubicBezTo>
                  <a:pt x="5948" y="9932"/>
                  <a:pt x="5949" y="9944"/>
                  <a:pt x="5947" y="9957"/>
                </a:cubicBezTo>
                <a:cubicBezTo>
                  <a:pt x="5944" y="9976"/>
                  <a:pt x="5935" y="9990"/>
                  <a:pt x="5920" y="10001"/>
                </a:cubicBezTo>
                <a:cubicBezTo>
                  <a:pt x="5906" y="10011"/>
                  <a:pt x="5889" y="10015"/>
                  <a:pt x="5869" y="10011"/>
                </a:cubicBezTo>
                <a:cubicBezTo>
                  <a:pt x="5866" y="10011"/>
                  <a:pt x="5862" y="10010"/>
                  <a:pt x="5859" y="10009"/>
                </a:cubicBezTo>
                <a:lnTo>
                  <a:pt x="5639" y="10101"/>
                </a:lnTo>
                <a:cubicBezTo>
                  <a:pt x="5730" y="10183"/>
                  <a:pt x="5851" y="10232"/>
                  <a:pt x="5983" y="10232"/>
                </a:cubicBezTo>
                <a:cubicBezTo>
                  <a:pt x="6125" y="10232"/>
                  <a:pt x="6254" y="10175"/>
                  <a:pt x="6347" y="10082"/>
                </a:cubicBezTo>
                <a:cubicBezTo>
                  <a:pt x="6440" y="9989"/>
                  <a:pt x="6497" y="9860"/>
                  <a:pt x="6497" y="9718"/>
                </a:cubicBezTo>
                <a:cubicBezTo>
                  <a:pt x="6497" y="9576"/>
                  <a:pt x="6440" y="9447"/>
                  <a:pt x="6347" y="9354"/>
                </a:cubicBezTo>
                <a:cubicBezTo>
                  <a:pt x="6254" y="9261"/>
                  <a:pt x="6125" y="9204"/>
                  <a:pt x="5983" y="9204"/>
                </a:cubicBezTo>
                <a:cubicBezTo>
                  <a:pt x="5841" y="9204"/>
                  <a:pt x="5712" y="9261"/>
                  <a:pt x="5619" y="9354"/>
                </a:cubicBezTo>
                <a:cubicBezTo>
                  <a:pt x="5526" y="9447"/>
                  <a:pt x="5469" y="9576"/>
                  <a:pt x="5469" y="9718"/>
                </a:cubicBezTo>
                <a:cubicBezTo>
                  <a:pt x="5469" y="9847"/>
                  <a:pt x="5516" y="9965"/>
                  <a:pt x="5595" y="10056"/>
                </a:cubicBezTo>
                <a:lnTo>
                  <a:pt x="5812" y="9963"/>
                </a:lnTo>
                <a:cubicBezTo>
                  <a:pt x="5810" y="9955"/>
                  <a:pt x="5810" y="9946"/>
                  <a:pt x="5812" y="9936"/>
                </a:cubicBezTo>
                <a:cubicBezTo>
                  <a:pt x="5814" y="9924"/>
                  <a:pt x="5818" y="9913"/>
                  <a:pt x="5826" y="9904"/>
                </a:cubicBezTo>
                <a:cubicBezTo>
                  <a:pt x="5834" y="9896"/>
                  <a:pt x="5844" y="9889"/>
                  <a:pt x="5856" y="9885"/>
                </a:cubicBezTo>
                <a:lnTo>
                  <a:pt x="5856" y="9884"/>
                </a:lnTo>
                <a:cubicBezTo>
                  <a:pt x="5847" y="9876"/>
                  <a:pt x="5840" y="9868"/>
                  <a:pt x="5836" y="9860"/>
                </a:cubicBezTo>
                <a:cubicBezTo>
                  <a:pt x="5833" y="9852"/>
                  <a:pt x="5832" y="9843"/>
                  <a:pt x="5833" y="9831"/>
                </a:cubicBezTo>
                <a:cubicBezTo>
                  <a:pt x="5835" y="9824"/>
                  <a:pt x="5837" y="9818"/>
                  <a:pt x="5840" y="9812"/>
                </a:cubicBezTo>
                <a:lnTo>
                  <a:pt x="5619" y="9777"/>
                </a:lnTo>
                <a:cubicBezTo>
                  <a:pt x="5609" y="9776"/>
                  <a:pt x="5602" y="9764"/>
                  <a:pt x="5604" y="9751"/>
                </a:cubicBezTo>
                <a:lnTo>
                  <a:pt x="5646" y="9490"/>
                </a:lnTo>
                <a:cubicBezTo>
                  <a:pt x="5648" y="9477"/>
                  <a:pt x="5658" y="9468"/>
                  <a:pt x="5668" y="9470"/>
                </a:cubicBezTo>
                <a:lnTo>
                  <a:pt x="6228" y="9559"/>
                </a:lnTo>
                <a:cubicBezTo>
                  <a:pt x="6238" y="9561"/>
                  <a:pt x="6245" y="9572"/>
                  <a:pt x="6243" y="9585"/>
                </a:cubicBezTo>
                <a:lnTo>
                  <a:pt x="6201" y="9847"/>
                </a:lnTo>
                <a:close/>
                <a:moveTo>
                  <a:pt x="6292" y="9824"/>
                </a:moveTo>
                <a:cubicBezTo>
                  <a:pt x="6290" y="9833"/>
                  <a:pt x="6288" y="9840"/>
                  <a:pt x="6287" y="9840"/>
                </a:cubicBezTo>
                <a:lnTo>
                  <a:pt x="6218" y="9829"/>
                </a:lnTo>
                <a:cubicBezTo>
                  <a:pt x="6216" y="9829"/>
                  <a:pt x="6217" y="9821"/>
                  <a:pt x="6218" y="9812"/>
                </a:cubicBezTo>
                <a:lnTo>
                  <a:pt x="6248" y="9623"/>
                </a:lnTo>
                <a:cubicBezTo>
                  <a:pt x="6250" y="9614"/>
                  <a:pt x="6252" y="9607"/>
                  <a:pt x="6253" y="9607"/>
                </a:cubicBezTo>
                <a:lnTo>
                  <a:pt x="6322" y="9618"/>
                </a:lnTo>
                <a:cubicBezTo>
                  <a:pt x="6323" y="9618"/>
                  <a:pt x="6323" y="9626"/>
                  <a:pt x="6322" y="9635"/>
                </a:cubicBezTo>
                <a:lnTo>
                  <a:pt x="6292" y="9824"/>
                </a:lnTo>
                <a:close/>
                <a:moveTo>
                  <a:pt x="6356" y="9819"/>
                </a:moveTo>
                <a:cubicBezTo>
                  <a:pt x="6355" y="9826"/>
                  <a:pt x="6354" y="9832"/>
                  <a:pt x="6353" y="9832"/>
                </a:cubicBezTo>
                <a:lnTo>
                  <a:pt x="6316" y="9826"/>
                </a:lnTo>
                <a:cubicBezTo>
                  <a:pt x="6315" y="9826"/>
                  <a:pt x="6315" y="9820"/>
                  <a:pt x="6317" y="9812"/>
                </a:cubicBezTo>
                <a:lnTo>
                  <a:pt x="6341" y="9657"/>
                </a:lnTo>
                <a:cubicBezTo>
                  <a:pt x="6342" y="9650"/>
                  <a:pt x="6344" y="9644"/>
                  <a:pt x="6345" y="9644"/>
                </a:cubicBezTo>
                <a:lnTo>
                  <a:pt x="6382" y="9650"/>
                </a:lnTo>
                <a:cubicBezTo>
                  <a:pt x="6383" y="9650"/>
                  <a:pt x="6382" y="9656"/>
                  <a:pt x="6381" y="9664"/>
                </a:cubicBezTo>
                <a:lnTo>
                  <a:pt x="6356" y="9819"/>
                </a:lnTo>
                <a:close/>
                <a:moveTo>
                  <a:pt x="6474" y="10036"/>
                </a:moveTo>
                <a:lnTo>
                  <a:pt x="6711" y="10172"/>
                </a:lnTo>
                <a:lnTo>
                  <a:pt x="6765" y="9716"/>
                </a:lnTo>
                <a:lnTo>
                  <a:pt x="6568" y="9734"/>
                </a:lnTo>
                <a:cubicBezTo>
                  <a:pt x="6565" y="9845"/>
                  <a:pt x="6531" y="9949"/>
                  <a:pt x="6474" y="10036"/>
                </a:cubicBezTo>
                <a:close/>
                <a:moveTo>
                  <a:pt x="6568" y="9699"/>
                </a:moveTo>
                <a:lnTo>
                  <a:pt x="6770" y="9680"/>
                </a:lnTo>
                <a:lnTo>
                  <a:pt x="6808" y="9357"/>
                </a:lnTo>
                <a:lnTo>
                  <a:pt x="4912" y="8581"/>
                </a:lnTo>
                <a:cubicBezTo>
                  <a:pt x="4908" y="8589"/>
                  <a:pt x="4903" y="8596"/>
                  <a:pt x="4898" y="8602"/>
                </a:cubicBezTo>
                <a:lnTo>
                  <a:pt x="5565" y="9309"/>
                </a:lnTo>
                <a:cubicBezTo>
                  <a:pt x="5566" y="9308"/>
                  <a:pt x="5568" y="9306"/>
                  <a:pt x="5569" y="9304"/>
                </a:cubicBezTo>
                <a:cubicBezTo>
                  <a:pt x="5675" y="9199"/>
                  <a:pt x="5821" y="9133"/>
                  <a:pt x="5983" y="9133"/>
                </a:cubicBezTo>
                <a:cubicBezTo>
                  <a:pt x="6144" y="9133"/>
                  <a:pt x="6291" y="9199"/>
                  <a:pt x="6397" y="9304"/>
                </a:cubicBezTo>
                <a:cubicBezTo>
                  <a:pt x="6498" y="9406"/>
                  <a:pt x="6563" y="9545"/>
                  <a:pt x="6568" y="9699"/>
                </a:cubicBezTo>
                <a:close/>
                <a:moveTo>
                  <a:pt x="4877" y="6938"/>
                </a:moveTo>
                <a:lnTo>
                  <a:pt x="4877" y="6896"/>
                </a:lnTo>
                <a:cubicBezTo>
                  <a:pt x="4877" y="6866"/>
                  <a:pt x="4850" y="6841"/>
                  <a:pt x="4817" y="6841"/>
                </a:cubicBezTo>
                <a:lnTo>
                  <a:pt x="4817" y="6841"/>
                </a:lnTo>
                <a:cubicBezTo>
                  <a:pt x="4784" y="6841"/>
                  <a:pt x="4756" y="6866"/>
                  <a:pt x="4756" y="6896"/>
                </a:cubicBezTo>
                <a:lnTo>
                  <a:pt x="4756" y="6938"/>
                </a:lnTo>
                <a:lnTo>
                  <a:pt x="4877" y="6938"/>
                </a:lnTo>
                <a:close/>
                <a:moveTo>
                  <a:pt x="4743" y="6837"/>
                </a:moveTo>
                <a:cubicBezTo>
                  <a:pt x="4757" y="6824"/>
                  <a:pt x="4780" y="6815"/>
                  <a:pt x="4804" y="6815"/>
                </a:cubicBezTo>
                <a:lnTo>
                  <a:pt x="4830" y="6815"/>
                </a:lnTo>
                <a:cubicBezTo>
                  <a:pt x="4874" y="6815"/>
                  <a:pt x="4910" y="6843"/>
                  <a:pt x="4910" y="6877"/>
                </a:cubicBezTo>
                <a:lnTo>
                  <a:pt x="4910" y="6939"/>
                </a:lnTo>
                <a:cubicBezTo>
                  <a:pt x="4921" y="6941"/>
                  <a:pt x="4929" y="6951"/>
                  <a:pt x="4929" y="6963"/>
                </a:cubicBezTo>
                <a:lnTo>
                  <a:pt x="4929" y="7085"/>
                </a:lnTo>
                <a:cubicBezTo>
                  <a:pt x="4929" y="7099"/>
                  <a:pt x="4918" y="7110"/>
                  <a:pt x="4904" y="7110"/>
                </a:cubicBezTo>
                <a:lnTo>
                  <a:pt x="4731" y="7110"/>
                </a:lnTo>
                <a:cubicBezTo>
                  <a:pt x="4718" y="7110"/>
                  <a:pt x="4707" y="7099"/>
                  <a:pt x="4707" y="7085"/>
                </a:cubicBezTo>
                <a:lnTo>
                  <a:pt x="4707" y="7050"/>
                </a:lnTo>
                <a:lnTo>
                  <a:pt x="4614" y="7050"/>
                </a:lnTo>
                <a:lnTo>
                  <a:pt x="4614" y="6874"/>
                </a:lnTo>
                <a:lnTo>
                  <a:pt x="4471" y="6874"/>
                </a:lnTo>
                <a:lnTo>
                  <a:pt x="4471" y="7050"/>
                </a:lnTo>
                <a:lnTo>
                  <a:pt x="4342" y="7050"/>
                </a:lnTo>
                <a:lnTo>
                  <a:pt x="4342" y="6747"/>
                </a:lnTo>
                <a:lnTo>
                  <a:pt x="4542" y="6594"/>
                </a:lnTo>
                <a:lnTo>
                  <a:pt x="4743" y="6747"/>
                </a:lnTo>
                <a:lnTo>
                  <a:pt x="4743" y="6837"/>
                </a:lnTo>
                <a:close/>
                <a:moveTo>
                  <a:pt x="4845" y="7006"/>
                </a:moveTo>
                <a:cubicBezTo>
                  <a:pt x="4845" y="6991"/>
                  <a:pt x="4833" y="6979"/>
                  <a:pt x="4818" y="6979"/>
                </a:cubicBezTo>
                <a:cubicBezTo>
                  <a:pt x="4803" y="6979"/>
                  <a:pt x="4791" y="6991"/>
                  <a:pt x="4791" y="7006"/>
                </a:cubicBezTo>
                <a:cubicBezTo>
                  <a:pt x="4791" y="7018"/>
                  <a:pt x="4798" y="7026"/>
                  <a:pt x="4808" y="7030"/>
                </a:cubicBezTo>
                <a:lnTo>
                  <a:pt x="4809" y="7062"/>
                </a:lnTo>
                <a:cubicBezTo>
                  <a:pt x="4809" y="7066"/>
                  <a:pt x="4812" y="7069"/>
                  <a:pt x="4816" y="7069"/>
                </a:cubicBezTo>
                <a:lnTo>
                  <a:pt x="4825" y="7069"/>
                </a:lnTo>
                <a:cubicBezTo>
                  <a:pt x="4828" y="7069"/>
                  <a:pt x="4827" y="7046"/>
                  <a:pt x="4827" y="7042"/>
                </a:cubicBezTo>
                <a:cubicBezTo>
                  <a:pt x="4827" y="7042"/>
                  <a:pt x="4826" y="7029"/>
                  <a:pt x="4830" y="7029"/>
                </a:cubicBezTo>
                <a:cubicBezTo>
                  <a:pt x="4842" y="7029"/>
                  <a:pt x="4845" y="7006"/>
                  <a:pt x="4845" y="7006"/>
                </a:cubicBezTo>
                <a:close/>
                <a:moveTo>
                  <a:pt x="4278" y="6754"/>
                </a:moveTo>
                <a:lnTo>
                  <a:pt x="4206" y="6665"/>
                </a:lnTo>
                <a:lnTo>
                  <a:pt x="4542" y="6408"/>
                </a:lnTo>
                <a:lnTo>
                  <a:pt x="4643" y="6486"/>
                </a:lnTo>
                <a:lnTo>
                  <a:pt x="4643" y="6452"/>
                </a:lnTo>
                <a:lnTo>
                  <a:pt x="4769" y="6452"/>
                </a:lnTo>
                <a:lnTo>
                  <a:pt x="4769" y="6581"/>
                </a:lnTo>
                <a:lnTo>
                  <a:pt x="4878" y="6665"/>
                </a:lnTo>
                <a:lnTo>
                  <a:pt x="4809" y="6753"/>
                </a:lnTo>
                <a:lnTo>
                  <a:pt x="4542" y="6548"/>
                </a:lnTo>
                <a:lnTo>
                  <a:pt x="4278" y="6754"/>
                </a:lnTo>
                <a:close/>
                <a:moveTo>
                  <a:pt x="4645" y="7339"/>
                </a:moveTo>
                <a:lnTo>
                  <a:pt x="4786" y="8370"/>
                </a:lnTo>
                <a:cubicBezTo>
                  <a:pt x="4787" y="8370"/>
                  <a:pt x="4788" y="8370"/>
                  <a:pt x="4788" y="8370"/>
                </a:cubicBezTo>
                <a:cubicBezTo>
                  <a:pt x="4838" y="8370"/>
                  <a:pt x="4882" y="8396"/>
                  <a:pt x="4907" y="8434"/>
                </a:cubicBezTo>
                <a:lnTo>
                  <a:pt x="6503" y="7652"/>
                </a:lnTo>
                <a:cubicBezTo>
                  <a:pt x="6466" y="7575"/>
                  <a:pt x="6446" y="7489"/>
                  <a:pt x="6446" y="7398"/>
                </a:cubicBezTo>
                <a:cubicBezTo>
                  <a:pt x="6446" y="7245"/>
                  <a:pt x="6505" y="7104"/>
                  <a:pt x="6603" y="7000"/>
                </a:cubicBezTo>
                <a:lnTo>
                  <a:pt x="6578" y="6975"/>
                </a:lnTo>
                <a:cubicBezTo>
                  <a:pt x="6554" y="6994"/>
                  <a:pt x="6523" y="7005"/>
                  <a:pt x="6491" y="7005"/>
                </a:cubicBezTo>
                <a:cubicBezTo>
                  <a:pt x="6417" y="7005"/>
                  <a:pt x="6357" y="6950"/>
                  <a:pt x="6349" y="6878"/>
                </a:cubicBezTo>
                <a:lnTo>
                  <a:pt x="5144" y="6856"/>
                </a:lnTo>
                <a:cubicBezTo>
                  <a:pt x="5124" y="6979"/>
                  <a:pt x="5065" y="7088"/>
                  <a:pt x="4981" y="7173"/>
                </a:cubicBezTo>
                <a:cubicBezTo>
                  <a:pt x="4893" y="7261"/>
                  <a:pt x="4776" y="7321"/>
                  <a:pt x="4645" y="7339"/>
                </a:cubicBezTo>
                <a:close/>
                <a:moveTo>
                  <a:pt x="5149" y="6821"/>
                </a:moveTo>
                <a:lnTo>
                  <a:pt x="6350" y="6843"/>
                </a:lnTo>
                <a:cubicBezTo>
                  <a:pt x="6360" y="6774"/>
                  <a:pt x="6419" y="6722"/>
                  <a:pt x="6491" y="6722"/>
                </a:cubicBezTo>
                <a:cubicBezTo>
                  <a:pt x="6524" y="6722"/>
                  <a:pt x="6555" y="6733"/>
                  <a:pt x="6580" y="6753"/>
                </a:cubicBezTo>
                <a:lnTo>
                  <a:pt x="7290" y="6069"/>
                </a:lnTo>
                <a:lnTo>
                  <a:pt x="5147" y="6678"/>
                </a:lnTo>
                <a:cubicBezTo>
                  <a:pt x="5150" y="6705"/>
                  <a:pt x="5152" y="6732"/>
                  <a:pt x="5152" y="6759"/>
                </a:cubicBezTo>
                <a:cubicBezTo>
                  <a:pt x="5152" y="6780"/>
                  <a:pt x="5151" y="6800"/>
                  <a:pt x="5149" y="6821"/>
                </a:cubicBezTo>
                <a:close/>
                <a:moveTo>
                  <a:pt x="5141" y="6643"/>
                </a:moveTo>
                <a:lnTo>
                  <a:pt x="7344" y="6017"/>
                </a:lnTo>
                <a:lnTo>
                  <a:pt x="7992" y="5394"/>
                </a:lnTo>
                <a:cubicBezTo>
                  <a:pt x="7971" y="5378"/>
                  <a:pt x="7951" y="5360"/>
                  <a:pt x="7933" y="5342"/>
                </a:cubicBezTo>
                <a:cubicBezTo>
                  <a:pt x="7919" y="5328"/>
                  <a:pt x="7906" y="5314"/>
                  <a:pt x="7894" y="5299"/>
                </a:cubicBezTo>
                <a:lnTo>
                  <a:pt x="5125" y="6583"/>
                </a:lnTo>
                <a:cubicBezTo>
                  <a:pt x="5132" y="6603"/>
                  <a:pt x="5137" y="6623"/>
                  <a:pt x="5141" y="6643"/>
                </a:cubicBezTo>
                <a:close/>
                <a:moveTo>
                  <a:pt x="5114" y="6550"/>
                </a:moveTo>
                <a:lnTo>
                  <a:pt x="7872" y="5271"/>
                </a:lnTo>
                <a:cubicBezTo>
                  <a:pt x="7802" y="5175"/>
                  <a:pt x="7761" y="5056"/>
                  <a:pt x="7761" y="4928"/>
                </a:cubicBezTo>
                <a:cubicBezTo>
                  <a:pt x="7761" y="4767"/>
                  <a:pt x="7827" y="4621"/>
                  <a:pt x="7933" y="4515"/>
                </a:cubicBezTo>
                <a:cubicBezTo>
                  <a:pt x="7966" y="4481"/>
                  <a:pt x="8004" y="4452"/>
                  <a:pt x="8044" y="4428"/>
                </a:cubicBezTo>
                <a:lnTo>
                  <a:pt x="7844" y="3996"/>
                </a:lnTo>
                <a:cubicBezTo>
                  <a:pt x="7780" y="4020"/>
                  <a:pt x="7711" y="4033"/>
                  <a:pt x="7638" y="4033"/>
                </a:cubicBezTo>
                <a:cubicBezTo>
                  <a:pt x="7477" y="4033"/>
                  <a:pt x="7331" y="3968"/>
                  <a:pt x="7225" y="3862"/>
                </a:cubicBezTo>
                <a:cubicBezTo>
                  <a:pt x="7172" y="3809"/>
                  <a:pt x="7130" y="3747"/>
                  <a:pt x="7100" y="3678"/>
                </a:cubicBezTo>
                <a:lnTo>
                  <a:pt x="5989" y="4111"/>
                </a:lnTo>
                <a:lnTo>
                  <a:pt x="4872" y="6260"/>
                </a:lnTo>
                <a:cubicBezTo>
                  <a:pt x="4912" y="6284"/>
                  <a:pt x="4948" y="6313"/>
                  <a:pt x="4981" y="6345"/>
                </a:cubicBezTo>
                <a:cubicBezTo>
                  <a:pt x="5039" y="6403"/>
                  <a:pt x="5084" y="6472"/>
                  <a:pt x="5114" y="6550"/>
                </a:cubicBezTo>
                <a:close/>
                <a:moveTo>
                  <a:pt x="4842" y="6242"/>
                </a:moveTo>
                <a:lnTo>
                  <a:pt x="5939" y="4130"/>
                </a:lnTo>
                <a:lnTo>
                  <a:pt x="5548" y="4282"/>
                </a:lnTo>
                <a:cubicBezTo>
                  <a:pt x="5553" y="4312"/>
                  <a:pt x="5555" y="4342"/>
                  <a:pt x="5555" y="4373"/>
                </a:cubicBezTo>
                <a:cubicBezTo>
                  <a:pt x="5555" y="4535"/>
                  <a:pt x="5490" y="4681"/>
                  <a:pt x="5384" y="4787"/>
                </a:cubicBezTo>
                <a:cubicBezTo>
                  <a:pt x="5278" y="4893"/>
                  <a:pt x="5132" y="4958"/>
                  <a:pt x="4971" y="4958"/>
                </a:cubicBezTo>
                <a:cubicBezTo>
                  <a:pt x="4945" y="4958"/>
                  <a:pt x="4921" y="4957"/>
                  <a:pt x="4896" y="4953"/>
                </a:cubicBezTo>
                <a:lnTo>
                  <a:pt x="4685" y="6186"/>
                </a:lnTo>
                <a:cubicBezTo>
                  <a:pt x="4741" y="6197"/>
                  <a:pt x="4793" y="6216"/>
                  <a:pt x="4842" y="6242"/>
                </a:cubicBezTo>
                <a:close/>
                <a:moveTo>
                  <a:pt x="4651" y="6180"/>
                </a:moveTo>
                <a:lnTo>
                  <a:pt x="4861" y="4948"/>
                </a:lnTo>
                <a:cubicBezTo>
                  <a:pt x="4744" y="4926"/>
                  <a:pt x="4638" y="4868"/>
                  <a:pt x="4557" y="4787"/>
                </a:cubicBezTo>
                <a:cubicBezTo>
                  <a:pt x="4451" y="4681"/>
                  <a:pt x="4386" y="4535"/>
                  <a:pt x="4386" y="4373"/>
                </a:cubicBezTo>
                <a:cubicBezTo>
                  <a:pt x="4386" y="4308"/>
                  <a:pt x="4396" y="4244"/>
                  <a:pt x="4416" y="4186"/>
                </a:cubicBezTo>
                <a:lnTo>
                  <a:pt x="3806" y="3814"/>
                </a:lnTo>
                <a:cubicBezTo>
                  <a:pt x="3784" y="3847"/>
                  <a:pt x="3759" y="3877"/>
                  <a:pt x="3732" y="3905"/>
                </a:cubicBezTo>
                <a:cubicBezTo>
                  <a:pt x="3626" y="4011"/>
                  <a:pt x="3480" y="4076"/>
                  <a:pt x="3318" y="4076"/>
                </a:cubicBezTo>
                <a:cubicBezTo>
                  <a:pt x="3195" y="4076"/>
                  <a:pt x="3081" y="4038"/>
                  <a:pt x="2987" y="3974"/>
                </a:cubicBezTo>
                <a:lnTo>
                  <a:pt x="2476" y="4938"/>
                </a:lnTo>
                <a:cubicBezTo>
                  <a:pt x="2512" y="4963"/>
                  <a:pt x="2536" y="5006"/>
                  <a:pt x="2536" y="5054"/>
                </a:cubicBezTo>
                <a:cubicBezTo>
                  <a:pt x="2536" y="5082"/>
                  <a:pt x="2528" y="5108"/>
                  <a:pt x="2514" y="5130"/>
                </a:cubicBezTo>
                <a:cubicBezTo>
                  <a:pt x="3039" y="5560"/>
                  <a:pt x="3565" y="5991"/>
                  <a:pt x="4090" y="6421"/>
                </a:cubicBezTo>
                <a:cubicBezTo>
                  <a:pt x="4109" y="6394"/>
                  <a:pt x="4130" y="6369"/>
                  <a:pt x="4154" y="6345"/>
                </a:cubicBezTo>
                <a:cubicBezTo>
                  <a:pt x="4260" y="6240"/>
                  <a:pt x="4406" y="6174"/>
                  <a:pt x="4567" y="6174"/>
                </a:cubicBezTo>
                <a:cubicBezTo>
                  <a:pt x="4596" y="6174"/>
                  <a:pt x="4623" y="6176"/>
                  <a:pt x="4651" y="6180"/>
                </a:cubicBezTo>
                <a:close/>
                <a:moveTo>
                  <a:pt x="4931" y="6395"/>
                </a:moveTo>
                <a:cubicBezTo>
                  <a:pt x="4838" y="6302"/>
                  <a:pt x="4710" y="6245"/>
                  <a:pt x="4567" y="6245"/>
                </a:cubicBezTo>
                <a:cubicBezTo>
                  <a:pt x="4425" y="6245"/>
                  <a:pt x="4297" y="6302"/>
                  <a:pt x="4204" y="6395"/>
                </a:cubicBezTo>
                <a:cubicBezTo>
                  <a:pt x="4111" y="6488"/>
                  <a:pt x="4053" y="6617"/>
                  <a:pt x="4053" y="6759"/>
                </a:cubicBezTo>
                <a:cubicBezTo>
                  <a:pt x="4053" y="6901"/>
                  <a:pt x="4111" y="7030"/>
                  <a:pt x="4204" y="7123"/>
                </a:cubicBezTo>
                <a:cubicBezTo>
                  <a:pt x="4297" y="7216"/>
                  <a:pt x="4425" y="7273"/>
                  <a:pt x="4567" y="7273"/>
                </a:cubicBezTo>
                <a:cubicBezTo>
                  <a:pt x="4710" y="7273"/>
                  <a:pt x="4838" y="7216"/>
                  <a:pt x="4931" y="7123"/>
                </a:cubicBezTo>
                <a:cubicBezTo>
                  <a:pt x="5024" y="7030"/>
                  <a:pt x="5082" y="6901"/>
                  <a:pt x="5082" y="6759"/>
                </a:cubicBezTo>
                <a:cubicBezTo>
                  <a:pt x="5082" y="6617"/>
                  <a:pt x="5024" y="6488"/>
                  <a:pt x="4931" y="6395"/>
                </a:cubicBezTo>
                <a:close/>
                <a:moveTo>
                  <a:pt x="7217" y="7538"/>
                </a:moveTo>
                <a:cubicBezTo>
                  <a:pt x="7217" y="7538"/>
                  <a:pt x="7122" y="7670"/>
                  <a:pt x="7044" y="7715"/>
                </a:cubicBezTo>
                <a:lnTo>
                  <a:pt x="7044" y="7378"/>
                </a:lnTo>
                <a:lnTo>
                  <a:pt x="7292" y="7378"/>
                </a:lnTo>
                <a:cubicBezTo>
                  <a:pt x="7277" y="7430"/>
                  <a:pt x="7254" y="7486"/>
                  <a:pt x="7217" y="7538"/>
                </a:cubicBezTo>
                <a:close/>
                <a:moveTo>
                  <a:pt x="7037" y="7720"/>
                </a:moveTo>
                <a:cubicBezTo>
                  <a:pt x="7035" y="7721"/>
                  <a:pt x="7033" y="7722"/>
                  <a:pt x="7031" y="7722"/>
                </a:cubicBezTo>
                <a:lnTo>
                  <a:pt x="7031" y="7722"/>
                </a:lnTo>
                <a:cubicBezTo>
                  <a:pt x="7000" y="7708"/>
                  <a:pt x="6966" y="7678"/>
                  <a:pt x="6935" y="7646"/>
                </a:cubicBezTo>
                <a:cubicBezTo>
                  <a:pt x="6963" y="7674"/>
                  <a:pt x="6998" y="7702"/>
                  <a:pt x="7037" y="7720"/>
                </a:cubicBezTo>
                <a:close/>
                <a:moveTo>
                  <a:pt x="6893" y="7599"/>
                </a:moveTo>
                <a:cubicBezTo>
                  <a:pt x="6864" y="7565"/>
                  <a:pt x="6845" y="7537"/>
                  <a:pt x="6845" y="7537"/>
                </a:cubicBezTo>
                <a:cubicBezTo>
                  <a:pt x="6824" y="7508"/>
                  <a:pt x="6807" y="7477"/>
                  <a:pt x="6793" y="7445"/>
                </a:cubicBezTo>
                <a:cubicBezTo>
                  <a:pt x="6811" y="7484"/>
                  <a:pt x="6835" y="7520"/>
                  <a:pt x="6863" y="7558"/>
                </a:cubicBezTo>
                <a:cubicBezTo>
                  <a:pt x="6863" y="7558"/>
                  <a:pt x="6874" y="7575"/>
                  <a:pt x="6893" y="7599"/>
                </a:cubicBezTo>
                <a:close/>
                <a:moveTo>
                  <a:pt x="6773" y="7390"/>
                </a:moveTo>
                <a:cubicBezTo>
                  <a:pt x="6737" y="7277"/>
                  <a:pt x="6743" y="7180"/>
                  <a:pt x="6743" y="7180"/>
                </a:cubicBezTo>
                <a:cubicBezTo>
                  <a:pt x="6952" y="7189"/>
                  <a:pt x="7031" y="7075"/>
                  <a:pt x="7031" y="7075"/>
                </a:cubicBezTo>
                <a:lnTo>
                  <a:pt x="7031" y="7075"/>
                </a:lnTo>
                <a:cubicBezTo>
                  <a:pt x="7031" y="7075"/>
                  <a:pt x="7035" y="7081"/>
                  <a:pt x="7044" y="7091"/>
                </a:cubicBezTo>
                <a:lnTo>
                  <a:pt x="7044" y="7378"/>
                </a:lnTo>
                <a:lnTo>
                  <a:pt x="6770" y="7378"/>
                </a:lnTo>
                <a:cubicBezTo>
                  <a:pt x="6771" y="7382"/>
                  <a:pt x="6772" y="7386"/>
                  <a:pt x="6773" y="7390"/>
                </a:cubicBezTo>
                <a:close/>
                <a:moveTo>
                  <a:pt x="7358" y="7150"/>
                </a:moveTo>
                <a:cubicBezTo>
                  <a:pt x="7121" y="7161"/>
                  <a:pt x="7031" y="7030"/>
                  <a:pt x="7031" y="7030"/>
                </a:cubicBezTo>
                <a:lnTo>
                  <a:pt x="7031" y="7030"/>
                </a:lnTo>
                <a:cubicBezTo>
                  <a:pt x="7031" y="7030"/>
                  <a:pt x="6941" y="7161"/>
                  <a:pt x="6704" y="7150"/>
                </a:cubicBezTo>
                <a:cubicBezTo>
                  <a:pt x="6704" y="7150"/>
                  <a:pt x="6690" y="7377"/>
                  <a:pt x="6819" y="7557"/>
                </a:cubicBezTo>
                <a:cubicBezTo>
                  <a:pt x="6819" y="7557"/>
                  <a:pt x="6940" y="7726"/>
                  <a:pt x="7031" y="7767"/>
                </a:cubicBezTo>
                <a:lnTo>
                  <a:pt x="7031" y="7767"/>
                </a:lnTo>
                <a:cubicBezTo>
                  <a:pt x="7122" y="7726"/>
                  <a:pt x="7242" y="7557"/>
                  <a:pt x="7242" y="7557"/>
                </a:cubicBezTo>
                <a:cubicBezTo>
                  <a:pt x="7372" y="7377"/>
                  <a:pt x="7358" y="7150"/>
                  <a:pt x="7358" y="7150"/>
                </a:cubicBezTo>
                <a:close/>
                <a:moveTo>
                  <a:pt x="7031" y="6814"/>
                </a:moveTo>
                <a:cubicBezTo>
                  <a:pt x="7192" y="6814"/>
                  <a:pt x="7338" y="6879"/>
                  <a:pt x="7444" y="6985"/>
                </a:cubicBezTo>
                <a:cubicBezTo>
                  <a:pt x="7488" y="7029"/>
                  <a:pt x="7526" y="7080"/>
                  <a:pt x="7554" y="7136"/>
                </a:cubicBezTo>
                <a:lnTo>
                  <a:pt x="8225" y="6808"/>
                </a:lnTo>
                <a:cubicBezTo>
                  <a:pt x="8207" y="6752"/>
                  <a:pt x="8198" y="6693"/>
                  <a:pt x="8198" y="6632"/>
                </a:cubicBezTo>
                <a:cubicBezTo>
                  <a:pt x="8198" y="6471"/>
                  <a:pt x="8263" y="6324"/>
                  <a:pt x="8369" y="6218"/>
                </a:cubicBezTo>
                <a:cubicBezTo>
                  <a:pt x="8436" y="6151"/>
                  <a:pt x="8520" y="6100"/>
                  <a:pt x="8613" y="6072"/>
                </a:cubicBezTo>
                <a:lnTo>
                  <a:pt x="8513" y="5721"/>
                </a:lnTo>
                <a:lnTo>
                  <a:pt x="7362" y="6049"/>
                </a:lnTo>
                <a:cubicBezTo>
                  <a:pt x="7109" y="6292"/>
                  <a:pt x="6857" y="6535"/>
                  <a:pt x="6604" y="6778"/>
                </a:cubicBezTo>
                <a:cubicBezTo>
                  <a:pt x="6622" y="6802"/>
                  <a:pt x="6632" y="6831"/>
                  <a:pt x="6632" y="6863"/>
                </a:cubicBezTo>
                <a:cubicBezTo>
                  <a:pt x="6632" y="6896"/>
                  <a:pt x="6621" y="6926"/>
                  <a:pt x="6603" y="6950"/>
                </a:cubicBezTo>
                <a:lnTo>
                  <a:pt x="6627" y="6975"/>
                </a:lnTo>
                <a:cubicBezTo>
                  <a:pt x="6732" y="6875"/>
                  <a:pt x="6874" y="6814"/>
                  <a:pt x="7031" y="6814"/>
                </a:cubicBezTo>
                <a:close/>
                <a:moveTo>
                  <a:pt x="6974" y="7981"/>
                </a:moveTo>
                <a:cubicBezTo>
                  <a:pt x="6835" y="7967"/>
                  <a:pt x="6710" y="7905"/>
                  <a:pt x="6617" y="7812"/>
                </a:cubicBezTo>
                <a:cubicBezTo>
                  <a:pt x="6579" y="7774"/>
                  <a:pt x="6546" y="7730"/>
                  <a:pt x="6519" y="7683"/>
                </a:cubicBezTo>
                <a:lnTo>
                  <a:pt x="4922" y="8466"/>
                </a:lnTo>
                <a:cubicBezTo>
                  <a:pt x="4926" y="8478"/>
                  <a:pt x="4929" y="8491"/>
                  <a:pt x="4930" y="8504"/>
                </a:cubicBezTo>
                <a:lnTo>
                  <a:pt x="6895" y="8640"/>
                </a:lnTo>
                <a:lnTo>
                  <a:pt x="6974" y="7981"/>
                </a:lnTo>
                <a:close/>
                <a:moveTo>
                  <a:pt x="7394" y="7035"/>
                </a:moveTo>
                <a:cubicBezTo>
                  <a:pt x="7301" y="6942"/>
                  <a:pt x="7173" y="6884"/>
                  <a:pt x="7031" y="6884"/>
                </a:cubicBezTo>
                <a:cubicBezTo>
                  <a:pt x="6889" y="6884"/>
                  <a:pt x="6760" y="6942"/>
                  <a:pt x="6667" y="7035"/>
                </a:cubicBezTo>
                <a:cubicBezTo>
                  <a:pt x="6574" y="7128"/>
                  <a:pt x="6516" y="7256"/>
                  <a:pt x="6516" y="7398"/>
                </a:cubicBezTo>
                <a:cubicBezTo>
                  <a:pt x="6516" y="7541"/>
                  <a:pt x="6574" y="7669"/>
                  <a:pt x="6667" y="7762"/>
                </a:cubicBezTo>
                <a:cubicBezTo>
                  <a:pt x="6760" y="7855"/>
                  <a:pt x="6889" y="7913"/>
                  <a:pt x="7031" y="7913"/>
                </a:cubicBezTo>
                <a:cubicBezTo>
                  <a:pt x="7173" y="7913"/>
                  <a:pt x="7301" y="7855"/>
                  <a:pt x="7394" y="7762"/>
                </a:cubicBezTo>
                <a:cubicBezTo>
                  <a:pt x="7488" y="7669"/>
                  <a:pt x="7545" y="7541"/>
                  <a:pt x="7545" y="7398"/>
                </a:cubicBezTo>
                <a:cubicBezTo>
                  <a:pt x="7545" y="7256"/>
                  <a:pt x="7488" y="7128"/>
                  <a:pt x="7394" y="7035"/>
                </a:cubicBezTo>
                <a:close/>
                <a:moveTo>
                  <a:pt x="9107" y="6418"/>
                </a:moveTo>
                <a:lnTo>
                  <a:pt x="9107" y="6373"/>
                </a:lnTo>
                <a:cubicBezTo>
                  <a:pt x="9106" y="6315"/>
                  <a:pt x="9059" y="6268"/>
                  <a:pt x="9002" y="6269"/>
                </a:cubicBezTo>
                <a:lnTo>
                  <a:pt x="8559" y="6271"/>
                </a:lnTo>
                <a:cubicBezTo>
                  <a:pt x="8502" y="6272"/>
                  <a:pt x="8455" y="6319"/>
                  <a:pt x="8455" y="6377"/>
                </a:cubicBezTo>
                <a:lnTo>
                  <a:pt x="8456" y="6422"/>
                </a:lnTo>
                <a:lnTo>
                  <a:pt x="9107" y="6418"/>
                </a:lnTo>
                <a:close/>
                <a:moveTo>
                  <a:pt x="8856" y="6545"/>
                </a:moveTo>
                <a:cubicBezTo>
                  <a:pt x="8844" y="6540"/>
                  <a:pt x="8831" y="6536"/>
                  <a:pt x="8817" y="6534"/>
                </a:cubicBezTo>
                <a:cubicBezTo>
                  <a:pt x="8806" y="6532"/>
                  <a:pt x="8795" y="6531"/>
                  <a:pt x="8783" y="6531"/>
                </a:cubicBezTo>
                <a:cubicBezTo>
                  <a:pt x="8772" y="6531"/>
                  <a:pt x="8761" y="6532"/>
                  <a:pt x="8750" y="6534"/>
                </a:cubicBezTo>
                <a:cubicBezTo>
                  <a:pt x="8736" y="6537"/>
                  <a:pt x="8723" y="6540"/>
                  <a:pt x="8711" y="6546"/>
                </a:cubicBezTo>
                <a:cubicBezTo>
                  <a:pt x="8646" y="6574"/>
                  <a:pt x="8600" y="6638"/>
                  <a:pt x="8600" y="6713"/>
                </a:cubicBezTo>
                <a:cubicBezTo>
                  <a:pt x="8601" y="6813"/>
                  <a:pt x="8684" y="6894"/>
                  <a:pt x="8786" y="6893"/>
                </a:cubicBezTo>
                <a:cubicBezTo>
                  <a:pt x="8876" y="6892"/>
                  <a:pt x="8951" y="6828"/>
                  <a:pt x="8966" y="6743"/>
                </a:cubicBezTo>
                <a:lnTo>
                  <a:pt x="8913" y="6743"/>
                </a:lnTo>
                <a:cubicBezTo>
                  <a:pt x="8913" y="6743"/>
                  <a:pt x="8912" y="6743"/>
                  <a:pt x="8912" y="6743"/>
                </a:cubicBezTo>
                <a:cubicBezTo>
                  <a:pt x="8898" y="6799"/>
                  <a:pt x="8847" y="6840"/>
                  <a:pt x="8785" y="6841"/>
                </a:cubicBezTo>
                <a:cubicBezTo>
                  <a:pt x="8713" y="6841"/>
                  <a:pt x="8654" y="6784"/>
                  <a:pt x="8653" y="6713"/>
                </a:cubicBezTo>
                <a:cubicBezTo>
                  <a:pt x="8653" y="6642"/>
                  <a:pt x="8711" y="6584"/>
                  <a:pt x="8784" y="6583"/>
                </a:cubicBezTo>
                <a:cubicBezTo>
                  <a:pt x="8845" y="6583"/>
                  <a:pt x="8897" y="6624"/>
                  <a:pt x="8912" y="6679"/>
                </a:cubicBezTo>
                <a:cubicBezTo>
                  <a:pt x="8912" y="6679"/>
                  <a:pt x="8912" y="6679"/>
                  <a:pt x="8913" y="6679"/>
                </a:cubicBezTo>
                <a:lnTo>
                  <a:pt x="8966" y="6679"/>
                </a:lnTo>
                <a:cubicBezTo>
                  <a:pt x="8954" y="6618"/>
                  <a:pt x="8912" y="6568"/>
                  <a:pt x="8856" y="6545"/>
                </a:cubicBezTo>
                <a:close/>
                <a:moveTo>
                  <a:pt x="8784" y="6905"/>
                </a:moveTo>
                <a:cubicBezTo>
                  <a:pt x="8678" y="6906"/>
                  <a:pt x="8590" y="6820"/>
                  <a:pt x="8590" y="6713"/>
                </a:cubicBezTo>
                <a:cubicBezTo>
                  <a:pt x="8589" y="6606"/>
                  <a:pt x="8675" y="6519"/>
                  <a:pt x="8782" y="6519"/>
                </a:cubicBezTo>
                <a:cubicBezTo>
                  <a:pt x="8889" y="6518"/>
                  <a:pt x="8976" y="6604"/>
                  <a:pt x="8977" y="6711"/>
                </a:cubicBezTo>
                <a:cubicBezTo>
                  <a:pt x="8977" y="6818"/>
                  <a:pt x="8891" y="6905"/>
                  <a:pt x="8784" y="6905"/>
                </a:cubicBezTo>
                <a:close/>
                <a:moveTo>
                  <a:pt x="8456" y="6432"/>
                </a:moveTo>
                <a:lnTo>
                  <a:pt x="8459" y="6892"/>
                </a:lnTo>
                <a:cubicBezTo>
                  <a:pt x="8459" y="6949"/>
                  <a:pt x="8506" y="6996"/>
                  <a:pt x="8564" y="6995"/>
                </a:cubicBezTo>
                <a:lnTo>
                  <a:pt x="9006" y="6993"/>
                </a:lnTo>
                <a:cubicBezTo>
                  <a:pt x="9064" y="6992"/>
                  <a:pt x="9110" y="6945"/>
                  <a:pt x="9110" y="6888"/>
                </a:cubicBezTo>
                <a:lnTo>
                  <a:pt x="9107" y="6428"/>
                </a:lnTo>
                <a:lnTo>
                  <a:pt x="8456" y="6432"/>
                </a:lnTo>
                <a:close/>
                <a:moveTo>
                  <a:pt x="8783" y="6047"/>
                </a:moveTo>
                <a:cubicBezTo>
                  <a:pt x="8944" y="6047"/>
                  <a:pt x="9090" y="6113"/>
                  <a:pt x="9196" y="6218"/>
                </a:cubicBezTo>
                <a:cubicBezTo>
                  <a:pt x="9221" y="6243"/>
                  <a:pt x="9243" y="6270"/>
                  <a:pt x="9263" y="6298"/>
                </a:cubicBezTo>
                <a:lnTo>
                  <a:pt x="10116" y="5880"/>
                </a:lnTo>
                <a:cubicBezTo>
                  <a:pt x="10111" y="5866"/>
                  <a:pt x="10108" y="5850"/>
                  <a:pt x="10108" y="5834"/>
                </a:cubicBezTo>
                <a:cubicBezTo>
                  <a:pt x="10108" y="5756"/>
                  <a:pt x="10172" y="5692"/>
                  <a:pt x="10250" y="5692"/>
                </a:cubicBezTo>
                <a:cubicBezTo>
                  <a:pt x="10284" y="5692"/>
                  <a:pt x="10315" y="5704"/>
                  <a:pt x="10339" y="5724"/>
                </a:cubicBezTo>
                <a:lnTo>
                  <a:pt x="10757" y="5322"/>
                </a:lnTo>
                <a:cubicBezTo>
                  <a:pt x="10701" y="5265"/>
                  <a:pt x="10656" y="5197"/>
                  <a:pt x="10627" y="5121"/>
                </a:cubicBezTo>
                <a:lnTo>
                  <a:pt x="8547" y="5712"/>
                </a:lnTo>
                <a:lnTo>
                  <a:pt x="8647" y="6063"/>
                </a:lnTo>
                <a:cubicBezTo>
                  <a:pt x="8691" y="6053"/>
                  <a:pt x="8736" y="6047"/>
                  <a:pt x="8783" y="6047"/>
                </a:cubicBezTo>
                <a:close/>
                <a:moveTo>
                  <a:pt x="9146" y="6268"/>
                </a:moveTo>
                <a:cubicBezTo>
                  <a:pt x="9053" y="6175"/>
                  <a:pt x="8925" y="6118"/>
                  <a:pt x="8783" y="6118"/>
                </a:cubicBezTo>
                <a:cubicBezTo>
                  <a:pt x="8641" y="6118"/>
                  <a:pt x="8512" y="6175"/>
                  <a:pt x="8419" y="6268"/>
                </a:cubicBezTo>
                <a:cubicBezTo>
                  <a:pt x="8326" y="6361"/>
                  <a:pt x="8268" y="6490"/>
                  <a:pt x="8268" y="6632"/>
                </a:cubicBezTo>
                <a:cubicBezTo>
                  <a:pt x="8268" y="6774"/>
                  <a:pt x="8326" y="6903"/>
                  <a:pt x="8419" y="6996"/>
                </a:cubicBezTo>
                <a:cubicBezTo>
                  <a:pt x="8512" y="7089"/>
                  <a:pt x="8641" y="7146"/>
                  <a:pt x="8783" y="7146"/>
                </a:cubicBezTo>
                <a:cubicBezTo>
                  <a:pt x="8925" y="7146"/>
                  <a:pt x="9053" y="7089"/>
                  <a:pt x="9146" y="6996"/>
                </a:cubicBezTo>
                <a:cubicBezTo>
                  <a:pt x="9240" y="6903"/>
                  <a:pt x="9297" y="6774"/>
                  <a:pt x="9297" y="6632"/>
                </a:cubicBezTo>
                <a:cubicBezTo>
                  <a:pt x="9297" y="6490"/>
                  <a:pt x="9240" y="6361"/>
                  <a:pt x="9146" y="6268"/>
                </a:cubicBezTo>
                <a:close/>
                <a:moveTo>
                  <a:pt x="11272" y="5129"/>
                </a:moveTo>
                <a:cubicBezTo>
                  <a:pt x="11272" y="5128"/>
                  <a:pt x="11271" y="5128"/>
                  <a:pt x="11271" y="5128"/>
                </a:cubicBezTo>
                <a:lnTo>
                  <a:pt x="11246" y="5128"/>
                </a:lnTo>
                <a:cubicBezTo>
                  <a:pt x="11245" y="5128"/>
                  <a:pt x="11245" y="5128"/>
                  <a:pt x="11245" y="5129"/>
                </a:cubicBezTo>
                <a:lnTo>
                  <a:pt x="11245" y="5148"/>
                </a:lnTo>
                <a:cubicBezTo>
                  <a:pt x="11245" y="5149"/>
                  <a:pt x="11245" y="5149"/>
                  <a:pt x="11246" y="5149"/>
                </a:cubicBezTo>
                <a:lnTo>
                  <a:pt x="11270" y="5149"/>
                </a:lnTo>
                <a:cubicBezTo>
                  <a:pt x="11271" y="5149"/>
                  <a:pt x="11272" y="5149"/>
                  <a:pt x="11272" y="5148"/>
                </a:cubicBezTo>
                <a:lnTo>
                  <a:pt x="11272" y="5129"/>
                </a:lnTo>
                <a:close/>
                <a:moveTo>
                  <a:pt x="11324" y="5129"/>
                </a:moveTo>
                <a:cubicBezTo>
                  <a:pt x="11324" y="5129"/>
                  <a:pt x="11323" y="5128"/>
                  <a:pt x="11322" y="5128"/>
                </a:cubicBezTo>
                <a:lnTo>
                  <a:pt x="11298" y="5128"/>
                </a:lnTo>
                <a:cubicBezTo>
                  <a:pt x="11297" y="5128"/>
                  <a:pt x="11297" y="5128"/>
                  <a:pt x="11297" y="5129"/>
                </a:cubicBezTo>
                <a:lnTo>
                  <a:pt x="11297" y="5148"/>
                </a:lnTo>
                <a:cubicBezTo>
                  <a:pt x="11297" y="5149"/>
                  <a:pt x="11297" y="5150"/>
                  <a:pt x="11298" y="5150"/>
                </a:cubicBezTo>
                <a:lnTo>
                  <a:pt x="11322" y="5150"/>
                </a:lnTo>
                <a:cubicBezTo>
                  <a:pt x="11323" y="5150"/>
                  <a:pt x="11323" y="5149"/>
                  <a:pt x="11323" y="5149"/>
                </a:cubicBezTo>
                <a:lnTo>
                  <a:pt x="11324" y="5129"/>
                </a:lnTo>
                <a:close/>
                <a:moveTo>
                  <a:pt x="11375" y="5130"/>
                </a:moveTo>
                <a:cubicBezTo>
                  <a:pt x="11375" y="5129"/>
                  <a:pt x="11375" y="5128"/>
                  <a:pt x="11374" y="5128"/>
                </a:cubicBezTo>
                <a:lnTo>
                  <a:pt x="11350" y="5128"/>
                </a:lnTo>
                <a:cubicBezTo>
                  <a:pt x="11349" y="5128"/>
                  <a:pt x="11349" y="5129"/>
                  <a:pt x="11349" y="5129"/>
                </a:cubicBezTo>
                <a:lnTo>
                  <a:pt x="11349" y="5149"/>
                </a:lnTo>
                <a:cubicBezTo>
                  <a:pt x="11349" y="5149"/>
                  <a:pt x="11349" y="5150"/>
                  <a:pt x="11350" y="5150"/>
                </a:cubicBezTo>
                <a:lnTo>
                  <a:pt x="11374" y="5150"/>
                </a:lnTo>
                <a:cubicBezTo>
                  <a:pt x="11375" y="5150"/>
                  <a:pt x="11375" y="5149"/>
                  <a:pt x="11375" y="5149"/>
                </a:cubicBezTo>
                <a:lnTo>
                  <a:pt x="11375" y="5130"/>
                </a:lnTo>
                <a:close/>
                <a:moveTo>
                  <a:pt x="11415" y="4722"/>
                </a:moveTo>
                <a:cubicBezTo>
                  <a:pt x="11415" y="4711"/>
                  <a:pt x="11406" y="4702"/>
                  <a:pt x="11395" y="4702"/>
                </a:cubicBezTo>
                <a:lnTo>
                  <a:pt x="10953" y="4700"/>
                </a:lnTo>
                <a:cubicBezTo>
                  <a:pt x="10943" y="4700"/>
                  <a:pt x="10934" y="4708"/>
                  <a:pt x="10934" y="4719"/>
                </a:cubicBezTo>
                <a:lnTo>
                  <a:pt x="10932" y="5068"/>
                </a:lnTo>
                <a:cubicBezTo>
                  <a:pt x="10932" y="5079"/>
                  <a:pt x="10940" y="5088"/>
                  <a:pt x="10951" y="5088"/>
                </a:cubicBezTo>
                <a:lnTo>
                  <a:pt x="11393" y="5091"/>
                </a:lnTo>
                <a:cubicBezTo>
                  <a:pt x="11404" y="5091"/>
                  <a:pt x="11413" y="5082"/>
                  <a:pt x="11413" y="5071"/>
                </a:cubicBezTo>
                <a:lnTo>
                  <a:pt x="11415" y="4722"/>
                </a:lnTo>
                <a:close/>
                <a:moveTo>
                  <a:pt x="11299" y="4504"/>
                </a:moveTo>
                <a:cubicBezTo>
                  <a:pt x="11309" y="4510"/>
                  <a:pt x="11322" y="4507"/>
                  <a:pt x="11327" y="4497"/>
                </a:cubicBezTo>
                <a:cubicBezTo>
                  <a:pt x="11333" y="4487"/>
                  <a:pt x="11330" y="4475"/>
                  <a:pt x="11320" y="4469"/>
                </a:cubicBezTo>
                <a:cubicBezTo>
                  <a:pt x="11310" y="4463"/>
                  <a:pt x="11298" y="4467"/>
                  <a:pt x="11292" y="4476"/>
                </a:cubicBezTo>
                <a:cubicBezTo>
                  <a:pt x="11286" y="4486"/>
                  <a:pt x="11290" y="4499"/>
                  <a:pt x="11299" y="4504"/>
                </a:cubicBezTo>
                <a:close/>
                <a:moveTo>
                  <a:pt x="11052" y="4503"/>
                </a:moveTo>
                <a:cubicBezTo>
                  <a:pt x="11061" y="4497"/>
                  <a:pt x="11065" y="4485"/>
                  <a:pt x="11059" y="4475"/>
                </a:cubicBezTo>
                <a:cubicBezTo>
                  <a:pt x="11054" y="4465"/>
                  <a:pt x="11041" y="4462"/>
                  <a:pt x="11031" y="4468"/>
                </a:cubicBezTo>
                <a:cubicBezTo>
                  <a:pt x="11022" y="4473"/>
                  <a:pt x="11018" y="4485"/>
                  <a:pt x="11024" y="4495"/>
                </a:cubicBezTo>
                <a:cubicBezTo>
                  <a:pt x="11029" y="4505"/>
                  <a:pt x="11042" y="4508"/>
                  <a:pt x="11052" y="4503"/>
                </a:cubicBezTo>
                <a:close/>
                <a:moveTo>
                  <a:pt x="11496" y="4663"/>
                </a:moveTo>
                <a:lnTo>
                  <a:pt x="11493" y="5214"/>
                </a:lnTo>
                <a:cubicBezTo>
                  <a:pt x="11493" y="5229"/>
                  <a:pt x="11481" y="5241"/>
                  <a:pt x="11465" y="5241"/>
                </a:cubicBezTo>
                <a:lnTo>
                  <a:pt x="10878" y="5238"/>
                </a:lnTo>
                <a:cubicBezTo>
                  <a:pt x="10862" y="5238"/>
                  <a:pt x="10850" y="5226"/>
                  <a:pt x="10850" y="5210"/>
                </a:cubicBezTo>
                <a:lnTo>
                  <a:pt x="10853" y="4660"/>
                </a:lnTo>
                <a:cubicBezTo>
                  <a:pt x="10853" y="4644"/>
                  <a:pt x="10866" y="4632"/>
                  <a:pt x="10881" y="4632"/>
                </a:cubicBezTo>
                <a:lnTo>
                  <a:pt x="11115" y="4633"/>
                </a:lnTo>
                <a:lnTo>
                  <a:pt x="11046" y="4512"/>
                </a:lnTo>
                <a:lnTo>
                  <a:pt x="11063" y="4503"/>
                </a:lnTo>
                <a:lnTo>
                  <a:pt x="11137" y="4634"/>
                </a:lnTo>
                <a:lnTo>
                  <a:pt x="11213" y="4634"/>
                </a:lnTo>
                <a:lnTo>
                  <a:pt x="11288" y="4504"/>
                </a:lnTo>
                <a:lnTo>
                  <a:pt x="11305" y="4514"/>
                </a:lnTo>
                <a:lnTo>
                  <a:pt x="11235" y="4634"/>
                </a:lnTo>
                <a:lnTo>
                  <a:pt x="11469" y="4635"/>
                </a:lnTo>
                <a:cubicBezTo>
                  <a:pt x="11484" y="4635"/>
                  <a:pt x="11496" y="4648"/>
                  <a:pt x="11496" y="4663"/>
                </a:cubicBezTo>
                <a:close/>
                <a:moveTo>
                  <a:pt x="11264" y="4333"/>
                </a:moveTo>
                <a:lnTo>
                  <a:pt x="11361" y="3788"/>
                </a:lnTo>
                <a:cubicBezTo>
                  <a:pt x="11328" y="3778"/>
                  <a:pt x="11300" y="3757"/>
                  <a:pt x="11282" y="3728"/>
                </a:cubicBezTo>
                <a:lnTo>
                  <a:pt x="8922" y="4823"/>
                </a:lnTo>
                <a:cubicBezTo>
                  <a:pt x="8928" y="4857"/>
                  <a:pt x="8931" y="4892"/>
                  <a:pt x="8931" y="4928"/>
                </a:cubicBezTo>
                <a:cubicBezTo>
                  <a:pt x="8931" y="5090"/>
                  <a:pt x="8866" y="5236"/>
                  <a:pt x="8760" y="5342"/>
                </a:cubicBezTo>
                <a:cubicBezTo>
                  <a:pt x="8686" y="5416"/>
                  <a:pt x="8591" y="5471"/>
                  <a:pt x="8486" y="5497"/>
                </a:cubicBezTo>
                <a:lnTo>
                  <a:pt x="8538" y="5678"/>
                </a:lnTo>
                <a:lnTo>
                  <a:pt x="10615" y="5087"/>
                </a:lnTo>
                <a:cubicBezTo>
                  <a:pt x="10598" y="5032"/>
                  <a:pt x="10588" y="4972"/>
                  <a:pt x="10588" y="4910"/>
                </a:cubicBezTo>
                <a:cubicBezTo>
                  <a:pt x="10588" y="4749"/>
                  <a:pt x="10654" y="4603"/>
                  <a:pt x="10759" y="4497"/>
                </a:cubicBezTo>
                <a:cubicBezTo>
                  <a:pt x="10865" y="4391"/>
                  <a:pt x="11012" y="4326"/>
                  <a:pt x="11173" y="4326"/>
                </a:cubicBezTo>
                <a:cubicBezTo>
                  <a:pt x="11204" y="4326"/>
                  <a:pt x="11234" y="4328"/>
                  <a:pt x="11264" y="4333"/>
                </a:cubicBezTo>
                <a:close/>
                <a:moveTo>
                  <a:pt x="11537" y="4547"/>
                </a:moveTo>
                <a:cubicBezTo>
                  <a:pt x="11444" y="4454"/>
                  <a:pt x="11315" y="4396"/>
                  <a:pt x="11173" y="4396"/>
                </a:cubicBezTo>
                <a:cubicBezTo>
                  <a:pt x="11031" y="4396"/>
                  <a:pt x="10902" y="4454"/>
                  <a:pt x="10809" y="4547"/>
                </a:cubicBezTo>
                <a:cubicBezTo>
                  <a:pt x="10716" y="4640"/>
                  <a:pt x="10659" y="4768"/>
                  <a:pt x="10659" y="4910"/>
                </a:cubicBezTo>
                <a:cubicBezTo>
                  <a:pt x="10659" y="5053"/>
                  <a:pt x="10716" y="5181"/>
                  <a:pt x="10809" y="5274"/>
                </a:cubicBezTo>
                <a:cubicBezTo>
                  <a:pt x="10902" y="5367"/>
                  <a:pt x="11031" y="5425"/>
                  <a:pt x="11173" y="5425"/>
                </a:cubicBezTo>
                <a:cubicBezTo>
                  <a:pt x="11315" y="5425"/>
                  <a:pt x="11444" y="5367"/>
                  <a:pt x="11537" y="5274"/>
                </a:cubicBezTo>
                <a:cubicBezTo>
                  <a:pt x="11630" y="5181"/>
                  <a:pt x="11687" y="5053"/>
                  <a:pt x="11687" y="4910"/>
                </a:cubicBezTo>
                <a:cubicBezTo>
                  <a:pt x="11687" y="4768"/>
                  <a:pt x="11630" y="4640"/>
                  <a:pt x="11537" y="4547"/>
                </a:cubicBezTo>
                <a:close/>
                <a:moveTo>
                  <a:pt x="8022" y="4674"/>
                </a:moveTo>
                <a:cubicBezTo>
                  <a:pt x="8012" y="4687"/>
                  <a:pt x="8016" y="4700"/>
                  <a:pt x="8021" y="4713"/>
                </a:cubicBezTo>
                <a:cubicBezTo>
                  <a:pt x="8085" y="4690"/>
                  <a:pt x="8171" y="4774"/>
                  <a:pt x="8159" y="4837"/>
                </a:cubicBezTo>
                <a:cubicBezTo>
                  <a:pt x="8172" y="4836"/>
                  <a:pt x="8184" y="4842"/>
                  <a:pt x="8196" y="4830"/>
                </a:cubicBezTo>
                <a:cubicBezTo>
                  <a:pt x="8208" y="4752"/>
                  <a:pt x="8098" y="4653"/>
                  <a:pt x="8022" y="4674"/>
                </a:cubicBezTo>
                <a:close/>
                <a:moveTo>
                  <a:pt x="8026" y="4601"/>
                </a:moveTo>
                <a:cubicBezTo>
                  <a:pt x="8012" y="4620"/>
                  <a:pt x="8017" y="4638"/>
                  <a:pt x="8025" y="4657"/>
                </a:cubicBezTo>
                <a:cubicBezTo>
                  <a:pt x="8116" y="4624"/>
                  <a:pt x="8239" y="4744"/>
                  <a:pt x="8222" y="4834"/>
                </a:cubicBezTo>
                <a:cubicBezTo>
                  <a:pt x="8239" y="4832"/>
                  <a:pt x="8257" y="4841"/>
                  <a:pt x="8274" y="4824"/>
                </a:cubicBezTo>
                <a:cubicBezTo>
                  <a:pt x="8291" y="4713"/>
                  <a:pt x="8135" y="4572"/>
                  <a:pt x="8026" y="4601"/>
                </a:cubicBezTo>
                <a:close/>
                <a:moveTo>
                  <a:pt x="8023" y="4736"/>
                </a:moveTo>
                <a:cubicBezTo>
                  <a:pt x="8015" y="4747"/>
                  <a:pt x="8024" y="4757"/>
                  <a:pt x="8020" y="4768"/>
                </a:cubicBezTo>
                <a:cubicBezTo>
                  <a:pt x="8059" y="4759"/>
                  <a:pt x="8106" y="4802"/>
                  <a:pt x="8102" y="4842"/>
                </a:cubicBezTo>
                <a:cubicBezTo>
                  <a:pt x="8113" y="4836"/>
                  <a:pt x="8125" y="4847"/>
                  <a:pt x="8136" y="4833"/>
                </a:cubicBezTo>
                <a:cubicBezTo>
                  <a:pt x="8144" y="4781"/>
                  <a:pt x="8073" y="4716"/>
                  <a:pt x="8023" y="4736"/>
                </a:cubicBezTo>
                <a:close/>
                <a:moveTo>
                  <a:pt x="8582" y="5102"/>
                </a:moveTo>
                <a:cubicBezTo>
                  <a:pt x="8566" y="5102"/>
                  <a:pt x="8553" y="5115"/>
                  <a:pt x="8552" y="5131"/>
                </a:cubicBezTo>
                <a:cubicBezTo>
                  <a:pt x="8552" y="5147"/>
                  <a:pt x="8565" y="5160"/>
                  <a:pt x="8581" y="5161"/>
                </a:cubicBezTo>
                <a:cubicBezTo>
                  <a:pt x="8597" y="5161"/>
                  <a:pt x="8610" y="5148"/>
                  <a:pt x="8610" y="5132"/>
                </a:cubicBezTo>
                <a:cubicBezTo>
                  <a:pt x="8611" y="5116"/>
                  <a:pt x="8598" y="5103"/>
                  <a:pt x="8582" y="5102"/>
                </a:cubicBezTo>
                <a:close/>
                <a:moveTo>
                  <a:pt x="8488" y="5101"/>
                </a:moveTo>
                <a:cubicBezTo>
                  <a:pt x="8472" y="5101"/>
                  <a:pt x="8459" y="5114"/>
                  <a:pt x="8458" y="5130"/>
                </a:cubicBezTo>
                <a:cubicBezTo>
                  <a:pt x="8458" y="5146"/>
                  <a:pt x="8471" y="5159"/>
                  <a:pt x="8487" y="5159"/>
                </a:cubicBezTo>
                <a:cubicBezTo>
                  <a:pt x="8503" y="5159"/>
                  <a:pt x="8516" y="5146"/>
                  <a:pt x="8516" y="5131"/>
                </a:cubicBezTo>
                <a:cubicBezTo>
                  <a:pt x="8517" y="5114"/>
                  <a:pt x="8504" y="5101"/>
                  <a:pt x="8488" y="5101"/>
                </a:cubicBezTo>
                <a:close/>
                <a:moveTo>
                  <a:pt x="8394" y="5100"/>
                </a:moveTo>
                <a:cubicBezTo>
                  <a:pt x="8378" y="5099"/>
                  <a:pt x="8365" y="5112"/>
                  <a:pt x="8364" y="5128"/>
                </a:cubicBezTo>
                <a:cubicBezTo>
                  <a:pt x="8364" y="5144"/>
                  <a:pt x="8377" y="5157"/>
                  <a:pt x="8393" y="5158"/>
                </a:cubicBezTo>
                <a:cubicBezTo>
                  <a:pt x="8409" y="5158"/>
                  <a:pt x="8422" y="5145"/>
                  <a:pt x="8422" y="5129"/>
                </a:cubicBezTo>
                <a:cubicBezTo>
                  <a:pt x="8423" y="5113"/>
                  <a:pt x="8410" y="5100"/>
                  <a:pt x="8394" y="5100"/>
                </a:cubicBezTo>
                <a:close/>
                <a:moveTo>
                  <a:pt x="8300" y="5098"/>
                </a:moveTo>
                <a:cubicBezTo>
                  <a:pt x="8284" y="5098"/>
                  <a:pt x="8271" y="5111"/>
                  <a:pt x="8270" y="5127"/>
                </a:cubicBezTo>
                <a:cubicBezTo>
                  <a:pt x="8270" y="5143"/>
                  <a:pt x="8283" y="5156"/>
                  <a:pt x="8299" y="5156"/>
                </a:cubicBezTo>
                <a:cubicBezTo>
                  <a:pt x="8315" y="5156"/>
                  <a:pt x="8328" y="5144"/>
                  <a:pt x="8328" y="5128"/>
                </a:cubicBezTo>
                <a:cubicBezTo>
                  <a:pt x="8329" y="5112"/>
                  <a:pt x="8316" y="5098"/>
                  <a:pt x="8300" y="5098"/>
                </a:cubicBezTo>
                <a:close/>
                <a:moveTo>
                  <a:pt x="8206" y="5097"/>
                </a:moveTo>
                <a:cubicBezTo>
                  <a:pt x="8190" y="5096"/>
                  <a:pt x="8176" y="5109"/>
                  <a:pt x="8176" y="5125"/>
                </a:cubicBezTo>
                <a:cubicBezTo>
                  <a:pt x="8176" y="5141"/>
                  <a:pt x="8189" y="5154"/>
                  <a:pt x="8205" y="5155"/>
                </a:cubicBezTo>
                <a:cubicBezTo>
                  <a:pt x="8221" y="5155"/>
                  <a:pt x="8234" y="5142"/>
                  <a:pt x="8234" y="5126"/>
                </a:cubicBezTo>
                <a:cubicBezTo>
                  <a:pt x="8235" y="5110"/>
                  <a:pt x="8222" y="5097"/>
                  <a:pt x="8206" y="5097"/>
                </a:cubicBezTo>
                <a:close/>
                <a:moveTo>
                  <a:pt x="8112" y="5095"/>
                </a:moveTo>
                <a:cubicBezTo>
                  <a:pt x="8096" y="5095"/>
                  <a:pt x="8082" y="5108"/>
                  <a:pt x="8082" y="5124"/>
                </a:cubicBezTo>
                <a:cubicBezTo>
                  <a:pt x="8082" y="5140"/>
                  <a:pt x="8095" y="5153"/>
                  <a:pt x="8111" y="5153"/>
                </a:cubicBezTo>
                <a:cubicBezTo>
                  <a:pt x="8127" y="5154"/>
                  <a:pt x="8140" y="5141"/>
                  <a:pt x="8140" y="5125"/>
                </a:cubicBezTo>
                <a:cubicBezTo>
                  <a:pt x="8141" y="5109"/>
                  <a:pt x="8128" y="5095"/>
                  <a:pt x="8112" y="5095"/>
                </a:cubicBezTo>
                <a:close/>
                <a:moveTo>
                  <a:pt x="8729" y="5209"/>
                </a:moveTo>
                <a:cubicBezTo>
                  <a:pt x="8729" y="5218"/>
                  <a:pt x="8722" y="5225"/>
                  <a:pt x="8713" y="5225"/>
                </a:cubicBezTo>
                <a:lnTo>
                  <a:pt x="7976" y="5213"/>
                </a:lnTo>
                <a:cubicBezTo>
                  <a:pt x="7968" y="5213"/>
                  <a:pt x="7961" y="5206"/>
                  <a:pt x="7961" y="5197"/>
                </a:cubicBezTo>
                <a:lnTo>
                  <a:pt x="7963" y="5047"/>
                </a:lnTo>
                <a:cubicBezTo>
                  <a:pt x="7963" y="5038"/>
                  <a:pt x="7971" y="5031"/>
                  <a:pt x="7979" y="5031"/>
                </a:cubicBezTo>
                <a:lnTo>
                  <a:pt x="8011" y="5032"/>
                </a:lnTo>
                <a:cubicBezTo>
                  <a:pt x="8010" y="5031"/>
                  <a:pt x="8010" y="5030"/>
                  <a:pt x="8010" y="5030"/>
                </a:cubicBezTo>
                <a:lnTo>
                  <a:pt x="8012" y="4929"/>
                </a:lnTo>
                <a:cubicBezTo>
                  <a:pt x="8012" y="4927"/>
                  <a:pt x="8015" y="4924"/>
                  <a:pt x="8020" y="4924"/>
                </a:cubicBezTo>
                <a:lnTo>
                  <a:pt x="8022" y="4924"/>
                </a:lnTo>
                <a:lnTo>
                  <a:pt x="8023" y="4835"/>
                </a:lnTo>
                <a:cubicBezTo>
                  <a:pt x="8023" y="4832"/>
                  <a:pt x="8025" y="4829"/>
                  <a:pt x="8027" y="4829"/>
                </a:cubicBezTo>
                <a:lnTo>
                  <a:pt x="8039" y="4830"/>
                </a:lnTo>
                <a:cubicBezTo>
                  <a:pt x="8041" y="4830"/>
                  <a:pt x="8043" y="4832"/>
                  <a:pt x="8043" y="4835"/>
                </a:cubicBezTo>
                <a:lnTo>
                  <a:pt x="8042" y="4925"/>
                </a:lnTo>
                <a:lnTo>
                  <a:pt x="8044" y="4925"/>
                </a:lnTo>
                <a:cubicBezTo>
                  <a:pt x="8048" y="4925"/>
                  <a:pt x="8052" y="4927"/>
                  <a:pt x="8052" y="4930"/>
                </a:cubicBezTo>
                <a:lnTo>
                  <a:pt x="8050" y="5031"/>
                </a:lnTo>
                <a:cubicBezTo>
                  <a:pt x="8050" y="5031"/>
                  <a:pt x="8050" y="5032"/>
                  <a:pt x="8050" y="5032"/>
                </a:cubicBezTo>
                <a:lnTo>
                  <a:pt x="8716" y="5042"/>
                </a:lnTo>
                <a:cubicBezTo>
                  <a:pt x="8725" y="5043"/>
                  <a:pt x="8732" y="5050"/>
                  <a:pt x="8732" y="5059"/>
                </a:cubicBezTo>
                <a:lnTo>
                  <a:pt x="8729" y="5209"/>
                </a:lnTo>
                <a:close/>
                <a:moveTo>
                  <a:pt x="8346" y="4343"/>
                </a:moveTo>
                <a:cubicBezTo>
                  <a:pt x="8508" y="4343"/>
                  <a:pt x="8654" y="4409"/>
                  <a:pt x="8760" y="4515"/>
                </a:cubicBezTo>
                <a:cubicBezTo>
                  <a:pt x="8834" y="4589"/>
                  <a:pt x="8888" y="4683"/>
                  <a:pt x="8914" y="4788"/>
                </a:cubicBezTo>
                <a:lnTo>
                  <a:pt x="11268" y="3696"/>
                </a:lnTo>
                <a:cubicBezTo>
                  <a:pt x="11264" y="3686"/>
                  <a:pt x="11262" y="3675"/>
                  <a:pt x="11261" y="3663"/>
                </a:cubicBezTo>
                <a:lnTo>
                  <a:pt x="8220" y="3507"/>
                </a:lnTo>
                <a:cubicBezTo>
                  <a:pt x="8206" y="3645"/>
                  <a:pt x="8145" y="3769"/>
                  <a:pt x="8052" y="3862"/>
                </a:cubicBezTo>
                <a:cubicBezTo>
                  <a:pt x="8002" y="3912"/>
                  <a:pt x="7942" y="3953"/>
                  <a:pt x="7877" y="3983"/>
                </a:cubicBezTo>
                <a:lnTo>
                  <a:pt x="8075" y="4410"/>
                </a:lnTo>
                <a:cubicBezTo>
                  <a:pt x="8156" y="4368"/>
                  <a:pt x="8248" y="4343"/>
                  <a:pt x="8346" y="4343"/>
                </a:cubicBezTo>
                <a:close/>
                <a:moveTo>
                  <a:pt x="8451" y="5504"/>
                </a:moveTo>
                <a:cubicBezTo>
                  <a:pt x="8417" y="5510"/>
                  <a:pt x="8382" y="5513"/>
                  <a:pt x="8346" y="5513"/>
                </a:cubicBezTo>
                <a:cubicBezTo>
                  <a:pt x="8226" y="5513"/>
                  <a:pt x="8114" y="5477"/>
                  <a:pt x="8021" y="5414"/>
                </a:cubicBezTo>
                <a:cubicBezTo>
                  <a:pt x="7819" y="5608"/>
                  <a:pt x="7617" y="5803"/>
                  <a:pt x="7416" y="5997"/>
                </a:cubicBezTo>
                <a:lnTo>
                  <a:pt x="8504" y="5688"/>
                </a:lnTo>
                <a:lnTo>
                  <a:pt x="8451" y="5504"/>
                </a:lnTo>
                <a:close/>
                <a:moveTo>
                  <a:pt x="8710" y="4565"/>
                </a:moveTo>
                <a:cubicBezTo>
                  <a:pt x="8617" y="4472"/>
                  <a:pt x="8488" y="4414"/>
                  <a:pt x="8346" y="4414"/>
                </a:cubicBezTo>
                <a:cubicBezTo>
                  <a:pt x="8204" y="4414"/>
                  <a:pt x="8076" y="4472"/>
                  <a:pt x="7983" y="4565"/>
                </a:cubicBezTo>
                <a:cubicBezTo>
                  <a:pt x="7889" y="4658"/>
                  <a:pt x="7832" y="4786"/>
                  <a:pt x="7832" y="4928"/>
                </a:cubicBezTo>
                <a:cubicBezTo>
                  <a:pt x="7832" y="5070"/>
                  <a:pt x="7889" y="5199"/>
                  <a:pt x="7983" y="5292"/>
                </a:cubicBezTo>
                <a:cubicBezTo>
                  <a:pt x="8076" y="5385"/>
                  <a:pt x="8204" y="5443"/>
                  <a:pt x="8346" y="5443"/>
                </a:cubicBezTo>
                <a:cubicBezTo>
                  <a:pt x="8488" y="5443"/>
                  <a:pt x="8617" y="5385"/>
                  <a:pt x="8710" y="5292"/>
                </a:cubicBezTo>
                <a:cubicBezTo>
                  <a:pt x="8803" y="5199"/>
                  <a:pt x="8861" y="5070"/>
                  <a:pt x="8861" y="4928"/>
                </a:cubicBezTo>
                <a:cubicBezTo>
                  <a:pt x="8861" y="4786"/>
                  <a:pt x="8803" y="4658"/>
                  <a:pt x="8710" y="4565"/>
                </a:cubicBezTo>
                <a:close/>
                <a:moveTo>
                  <a:pt x="1525" y="4996"/>
                </a:moveTo>
                <a:lnTo>
                  <a:pt x="1319" y="4997"/>
                </a:lnTo>
                <a:lnTo>
                  <a:pt x="1318" y="4944"/>
                </a:lnTo>
                <a:lnTo>
                  <a:pt x="1240" y="4944"/>
                </a:lnTo>
                <a:lnTo>
                  <a:pt x="1240" y="4895"/>
                </a:lnTo>
                <a:lnTo>
                  <a:pt x="1241" y="4895"/>
                </a:lnTo>
                <a:cubicBezTo>
                  <a:pt x="1246" y="4895"/>
                  <a:pt x="1251" y="4891"/>
                  <a:pt x="1251" y="4886"/>
                </a:cubicBezTo>
                <a:lnTo>
                  <a:pt x="1251" y="4873"/>
                </a:lnTo>
                <a:lnTo>
                  <a:pt x="1394" y="4872"/>
                </a:lnTo>
                <a:cubicBezTo>
                  <a:pt x="1401" y="4872"/>
                  <a:pt x="1406" y="4866"/>
                  <a:pt x="1406" y="4860"/>
                </a:cubicBezTo>
                <a:lnTo>
                  <a:pt x="1406" y="4840"/>
                </a:lnTo>
                <a:cubicBezTo>
                  <a:pt x="1406" y="4834"/>
                  <a:pt x="1400" y="4828"/>
                  <a:pt x="1393" y="4828"/>
                </a:cubicBezTo>
                <a:lnTo>
                  <a:pt x="1250" y="4829"/>
                </a:lnTo>
                <a:lnTo>
                  <a:pt x="1250" y="4817"/>
                </a:lnTo>
                <a:cubicBezTo>
                  <a:pt x="1250" y="4811"/>
                  <a:pt x="1246" y="4807"/>
                  <a:pt x="1240" y="4807"/>
                </a:cubicBezTo>
                <a:lnTo>
                  <a:pt x="1166" y="4808"/>
                </a:lnTo>
                <a:cubicBezTo>
                  <a:pt x="1160" y="4808"/>
                  <a:pt x="1156" y="4812"/>
                  <a:pt x="1156" y="4817"/>
                </a:cubicBezTo>
                <a:lnTo>
                  <a:pt x="1156" y="4830"/>
                </a:lnTo>
                <a:lnTo>
                  <a:pt x="1038" y="4831"/>
                </a:lnTo>
                <a:cubicBezTo>
                  <a:pt x="1031" y="4831"/>
                  <a:pt x="1025" y="4836"/>
                  <a:pt x="1025" y="4843"/>
                </a:cubicBezTo>
                <a:lnTo>
                  <a:pt x="1025" y="4862"/>
                </a:lnTo>
                <a:cubicBezTo>
                  <a:pt x="1025" y="4869"/>
                  <a:pt x="1031" y="4874"/>
                  <a:pt x="1038" y="4874"/>
                </a:cubicBezTo>
                <a:lnTo>
                  <a:pt x="1156" y="4873"/>
                </a:lnTo>
                <a:lnTo>
                  <a:pt x="1156" y="4886"/>
                </a:lnTo>
                <a:cubicBezTo>
                  <a:pt x="1156" y="4891"/>
                  <a:pt x="1161" y="4896"/>
                  <a:pt x="1167" y="4896"/>
                </a:cubicBezTo>
                <a:lnTo>
                  <a:pt x="1179" y="4896"/>
                </a:lnTo>
                <a:lnTo>
                  <a:pt x="1179" y="4945"/>
                </a:lnTo>
                <a:lnTo>
                  <a:pt x="1112" y="4945"/>
                </a:lnTo>
                <a:lnTo>
                  <a:pt x="1113" y="4999"/>
                </a:lnTo>
                <a:lnTo>
                  <a:pt x="1044" y="4999"/>
                </a:lnTo>
                <a:cubicBezTo>
                  <a:pt x="1035" y="4999"/>
                  <a:pt x="977" y="4997"/>
                  <a:pt x="974" y="5040"/>
                </a:cubicBezTo>
                <a:lnTo>
                  <a:pt x="974" y="5077"/>
                </a:lnTo>
                <a:lnTo>
                  <a:pt x="975" y="5151"/>
                </a:lnTo>
                <a:lnTo>
                  <a:pt x="976" y="5346"/>
                </a:lnTo>
                <a:cubicBezTo>
                  <a:pt x="976" y="5354"/>
                  <a:pt x="984" y="5361"/>
                  <a:pt x="993" y="5361"/>
                </a:cubicBezTo>
                <a:lnTo>
                  <a:pt x="1122" y="5360"/>
                </a:lnTo>
                <a:cubicBezTo>
                  <a:pt x="1132" y="5360"/>
                  <a:pt x="1139" y="5353"/>
                  <a:pt x="1139" y="5345"/>
                </a:cubicBezTo>
                <a:lnTo>
                  <a:pt x="1137" y="5158"/>
                </a:lnTo>
                <a:lnTo>
                  <a:pt x="1526" y="5155"/>
                </a:lnTo>
                <a:cubicBezTo>
                  <a:pt x="1535" y="5155"/>
                  <a:pt x="1543" y="5148"/>
                  <a:pt x="1543" y="5140"/>
                </a:cubicBezTo>
                <a:lnTo>
                  <a:pt x="1542" y="5011"/>
                </a:lnTo>
                <a:cubicBezTo>
                  <a:pt x="1542" y="5003"/>
                  <a:pt x="1534" y="4996"/>
                  <a:pt x="1525" y="4996"/>
                </a:cubicBezTo>
                <a:close/>
                <a:moveTo>
                  <a:pt x="1084" y="5564"/>
                </a:moveTo>
                <a:cubicBezTo>
                  <a:pt x="1073" y="5583"/>
                  <a:pt x="1069" y="5601"/>
                  <a:pt x="1076" y="5604"/>
                </a:cubicBezTo>
                <a:cubicBezTo>
                  <a:pt x="1082" y="5608"/>
                  <a:pt x="1097" y="5596"/>
                  <a:pt x="1109" y="5577"/>
                </a:cubicBezTo>
                <a:cubicBezTo>
                  <a:pt x="1120" y="5558"/>
                  <a:pt x="1124" y="5540"/>
                  <a:pt x="1117" y="5537"/>
                </a:cubicBezTo>
                <a:cubicBezTo>
                  <a:pt x="1110" y="5533"/>
                  <a:pt x="1095" y="5545"/>
                  <a:pt x="1084" y="5564"/>
                </a:cubicBezTo>
                <a:close/>
                <a:moveTo>
                  <a:pt x="1141" y="5542"/>
                </a:moveTo>
                <a:cubicBezTo>
                  <a:pt x="1142" y="5589"/>
                  <a:pt x="1101" y="5627"/>
                  <a:pt x="1050" y="5628"/>
                </a:cubicBezTo>
                <a:cubicBezTo>
                  <a:pt x="1000" y="5628"/>
                  <a:pt x="958" y="5590"/>
                  <a:pt x="958" y="5543"/>
                </a:cubicBezTo>
                <a:cubicBezTo>
                  <a:pt x="958" y="5496"/>
                  <a:pt x="1048" y="5361"/>
                  <a:pt x="1048" y="5361"/>
                </a:cubicBezTo>
                <a:cubicBezTo>
                  <a:pt x="1048" y="5361"/>
                  <a:pt x="1141" y="5495"/>
                  <a:pt x="1141" y="5542"/>
                </a:cubicBezTo>
                <a:close/>
                <a:moveTo>
                  <a:pt x="1757" y="5110"/>
                </a:moveTo>
                <a:lnTo>
                  <a:pt x="2252" y="5053"/>
                </a:lnTo>
                <a:cubicBezTo>
                  <a:pt x="2253" y="5008"/>
                  <a:pt x="2273" y="4969"/>
                  <a:pt x="2306" y="4943"/>
                </a:cubicBezTo>
                <a:lnTo>
                  <a:pt x="1509" y="3644"/>
                </a:lnTo>
                <a:cubicBezTo>
                  <a:pt x="1424" y="3692"/>
                  <a:pt x="1326" y="3719"/>
                  <a:pt x="1221" y="3719"/>
                </a:cubicBezTo>
                <a:cubicBezTo>
                  <a:pt x="1060" y="3719"/>
                  <a:pt x="913" y="3654"/>
                  <a:pt x="808" y="3548"/>
                </a:cubicBezTo>
                <a:cubicBezTo>
                  <a:pt x="806" y="3546"/>
                  <a:pt x="804" y="3545"/>
                  <a:pt x="803" y="3543"/>
                </a:cubicBezTo>
                <a:lnTo>
                  <a:pt x="263" y="3970"/>
                </a:lnTo>
                <a:cubicBezTo>
                  <a:pt x="276" y="3991"/>
                  <a:pt x="284" y="4016"/>
                  <a:pt x="284" y="4043"/>
                </a:cubicBezTo>
                <a:cubicBezTo>
                  <a:pt x="284" y="4079"/>
                  <a:pt x="271" y="4111"/>
                  <a:pt x="249" y="4136"/>
                </a:cubicBezTo>
                <a:lnTo>
                  <a:pt x="777" y="4729"/>
                </a:lnTo>
                <a:cubicBezTo>
                  <a:pt x="882" y="4632"/>
                  <a:pt x="1021" y="4573"/>
                  <a:pt x="1174" y="4573"/>
                </a:cubicBezTo>
                <a:cubicBezTo>
                  <a:pt x="1335" y="4573"/>
                  <a:pt x="1482" y="4639"/>
                  <a:pt x="1588" y="4745"/>
                </a:cubicBezTo>
                <a:cubicBezTo>
                  <a:pt x="1683" y="4840"/>
                  <a:pt x="1745" y="4968"/>
                  <a:pt x="1757" y="5110"/>
                </a:cubicBezTo>
                <a:close/>
                <a:moveTo>
                  <a:pt x="1538" y="4795"/>
                </a:moveTo>
                <a:cubicBezTo>
                  <a:pt x="1445" y="4702"/>
                  <a:pt x="1316" y="4644"/>
                  <a:pt x="1174" y="4644"/>
                </a:cubicBezTo>
                <a:cubicBezTo>
                  <a:pt x="1032" y="4644"/>
                  <a:pt x="903" y="4702"/>
                  <a:pt x="810" y="4795"/>
                </a:cubicBezTo>
                <a:cubicBezTo>
                  <a:pt x="717" y="4888"/>
                  <a:pt x="660" y="5016"/>
                  <a:pt x="660" y="5158"/>
                </a:cubicBezTo>
                <a:cubicBezTo>
                  <a:pt x="660" y="5300"/>
                  <a:pt x="717" y="5429"/>
                  <a:pt x="810" y="5522"/>
                </a:cubicBezTo>
                <a:cubicBezTo>
                  <a:pt x="903" y="5615"/>
                  <a:pt x="1032" y="5673"/>
                  <a:pt x="1174" y="5673"/>
                </a:cubicBezTo>
                <a:cubicBezTo>
                  <a:pt x="1316" y="5673"/>
                  <a:pt x="1445" y="5615"/>
                  <a:pt x="1538" y="5522"/>
                </a:cubicBezTo>
                <a:cubicBezTo>
                  <a:pt x="1631" y="5429"/>
                  <a:pt x="1688" y="5300"/>
                  <a:pt x="1688" y="5158"/>
                </a:cubicBezTo>
                <a:cubicBezTo>
                  <a:pt x="1688" y="5016"/>
                  <a:pt x="1631" y="4888"/>
                  <a:pt x="1538" y="4795"/>
                </a:cubicBezTo>
                <a:close/>
                <a:moveTo>
                  <a:pt x="4744" y="4195"/>
                </a:moveTo>
                <a:cubicBezTo>
                  <a:pt x="4751" y="4173"/>
                  <a:pt x="4775" y="4162"/>
                  <a:pt x="4796" y="4170"/>
                </a:cubicBezTo>
                <a:cubicBezTo>
                  <a:pt x="4818" y="4177"/>
                  <a:pt x="4830" y="4201"/>
                  <a:pt x="4822" y="4222"/>
                </a:cubicBezTo>
                <a:cubicBezTo>
                  <a:pt x="4814" y="4244"/>
                  <a:pt x="4791" y="4255"/>
                  <a:pt x="4769" y="4248"/>
                </a:cubicBezTo>
                <a:cubicBezTo>
                  <a:pt x="4748" y="4240"/>
                  <a:pt x="4736" y="4216"/>
                  <a:pt x="4744" y="4195"/>
                </a:cubicBezTo>
                <a:close/>
                <a:moveTo>
                  <a:pt x="4861" y="4171"/>
                </a:moveTo>
                <a:cubicBezTo>
                  <a:pt x="4869" y="4150"/>
                  <a:pt x="4893" y="4138"/>
                  <a:pt x="4914" y="4146"/>
                </a:cubicBezTo>
                <a:cubicBezTo>
                  <a:pt x="4936" y="4154"/>
                  <a:pt x="4947" y="4177"/>
                  <a:pt x="4940" y="4199"/>
                </a:cubicBezTo>
                <a:cubicBezTo>
                  <a:pt x="4932" y="4220"/>
                  <a:pt x="4908" y="4232"/>
                  <a:pt x="4887" y="4224"/>
                </a:cubicBezTo>
                <a:cubicBezTo>
                  <a:pt x="4865" y="4217"/>
                  <a:pt x="4854" y="4193"/>
                  <a:pt x="4861" y="4171"/>
                </a:cubicBezTo>
                <a:close/>
                <a:moveTo>
                  <a:pt x="4824" y="4279"/>
                </a:moveTo>
                <a:cubicBezTo>
                  <a:pt x="4831" y="4257"/>
                  <a:pt x="4855" y="4246"/>
                  <a:pt x="4876" y="4254"/>
                </a:cubicBezTo>
                <a:cubicBezTo>
                  <a:pt x="4898" y="4261"/>
                  <a:pt x="4909" y="4285"/>
                  <a:pt x="4902" y="4306"/>
                </a:cubicBezTo>
                <a:cubicBezTo>
                  <a:pt x="4894" y="4328"/>
                  <a:pt x="4871" y="4339"/>
                  <a:pt x="4849" y="4332"/>
                </a:cubicBezTo>
                <a:cubicBezTo>
                  <a:pt x="4827" y="4324"/>
                  <a:pt x="4816" y="4300"/>
                  <a:pt x="4824" y="4279"/>
                </a:cubicBezTo>
                <a:close/>
                <a:moveTo>
                  <a:pt x="5106" y="4284"/>
                </a:moveTo>
                <a:lnTo>
                  <a:pt x="5110" y="4285"/>
                </a:lnTo>
                <a:lnTo>
                  <a:pt x="5159" y="4302"/>
                </a:lnTo>
                <a:lnTo>
                  <a:pt x="5177" y="4253"/>
                </a:lnTo>
                <a:lnTo>
                  <a:pt x="5178" y="4249"/>
                </a:lnTo>
                <a:lnTo>
                  <a:pt x="5182" y="4250"/>
                </a:lnTo>
                <a:lnTo>
                  <a:pt x="5231" y="4268"/>
                </a:lnTo>
                <a:lnTo>
                  <a:pt x="5236" y="4269"/>
                </a:lnTo>
                <a:lnTo>
                  <a:pt x="5234" y="4273"/>
                </a:lnTo>
                <a:lnTo>
                  <a:pt x="5217" y="4323"/>
                </a:lnTo>
                <a:lnTo>
                  <a:pt x="5266" y="4340"/>
                </a:lnTo>
                <a:lnTo>
                  <a:pt x="5270" y="4341"/>
                </a:lnTo>
                <a:lnTo>
                  <a:pt x="5269" y="4346"/>
                </a:lnTo>
                <a:lnTo>
                  <a:pt x="5251" y="4395"/>
                </a:lnTo>
                <a:lnTo>
                  <a:pt x="5250" y="4399"/>
                </a:lnTo>
                <a:lnTo>
                  <a:pt x="5246" y="4397"/>
                </a:lnTo>
                <a:lnTo>
                  <a:pt x="5197" y="4380"/>
                </a:lnTo>
                <a:lnTo>
                  <a:pt x="5179" y="4429"/>
                </a:lnTo>
                <a:lnTo>
                  <a:pt x="5178" y="4434"/>
                </a:lnTo>
                <a:lnTo>
                  <a:pt x="5174" y="4432"/>
                </a:lnTo>
                <a:lnTo>
                  <a:pt x="5124" y="4415"/>
                </a:lnTo>
                <a:lnTo>
                  <a:pt x="5120" y="4413"/>
                </a:lnTo>
                <a:lnTo>
                  <a:pt x="5122" y="4409"/>
                </a:lnTo>
                <a:lnTo>
                  <a:pt x="5139" y="4360"/>
                </a:lnTo>
                <a:lnTo>
                  <a:pt x="5090" y="4343"/>
                </a:lnTo>
                <a:lnTo>
                  <a:pt x="5086" y="4341"/>
                </a:lnTo>
                <a:lnTo>
                  <a:pt x="5087" y="4337"/>
                </a:lnTo>
                <a:lnTo>
                  <a:pt x="5104" y="4288"/>
                </a:lnTo>
                <a:lnTo>
                  <a:pt x="5106" y="4284"/>
                </a:lnTo>
                <a:close/>
                <a:moveTo>
                  <a:pt x="4585" y="4402"/>
                </a:moveTo>
                <a:cubicBezTo>
                  <a:pt x="4577" y="4446"/>
                  <a:pt x="4590" y="4481"/>
                  <a:pt x="4633" y="4493"/>
                </a:cubicBezTo>
                <a:cubicBezTo>
                  <a:pt x="4676" y="4504"/>
                  <a:pt x="4804" y="4427"/>
                  <a:pt x="4804" y="4427"/>
                </a:cubicBezTo>
                <a:cubicBezTo>
                  <a:pt x="4815" y="4421"/>
                  <a:pt x="4833" y="4419"/>
                  <a:pt x="4845" y="4423"/>
                </a:cubicBezTo>
                <a:lnTo>
                  <a:pt x="5075" y="4504"/>
                </a:lnTo>
                <a:cubicBezTo>
                  <a:pt x="5087" y="4508"/>
                  <a:pt x="5100" y="4521"/>
                  <a:pt x="5104" y="4532"/>
                </a:cubicBezTo>
                <a:cubicBezTo>
                  <a:pt x="5104" y="4532"/>
                  <a:pt x="5156" y="4673"/>
                  <a:pt x="5197" y="4691"/>
                </a:cubicBezTo>
                <a:cubicBezTo>
                  <a:pt x="5237" y="4709"/>
                  <a:pt x="5269" y="4689"/>
                  <a:pt x="5290" y="4650"/>
                </a:cubicBezTo>
                <a:cubicBezTo>
                  <a:pt x="5290" y="4650"/>
                  <a:pt x="5389" y="4493"/>
                  <a:pt x="5348" y="4303"/>
                </a:cubicBezTo>
                <a:cubicBezTo>
                  <a:pt x="5308" y="4114"/>
                  <a:pt x="5126" y="4172"/>
                  <a:pt x="5126" y="4172"/>
                </a:cubicBezTo>
                <a:cubicBezTo>
                  <a:pt x="5115" y="4176"/>
                  <a:pt x="5096" y="4175"/>
                  <a:pt x="5084" y="4171"/>
                </a:cubicBezTo>
                <a:lnTo>
                  <a:pt x="5046" y="4158"/>
                </a:lnTo>
                <a:cubicBezTo>
                  <a:pt x="5034" y="4154"/>
                  <a:pt x="5019" y="4142"/>
                  <a:pt x="5012" y="4132"/>
                </a:cubicBezTo>
                <a:cubicBezTo>
                  <a:pt x="5012" y="4132"/>
                  <a:pt x="4907" y="3972"/>
                  <a:pt x="4757" y="4095"/>
                </a:cubicBezTo>
                <a:cubicBezTo>
                  <a:pt x="4607" y="4218"/>
                  <a:pt x="4585" y="4402"/>
                  <a:pt x="4585" y="4402"/>
                </a:cubicBezTo>
                <a:close/>
                <a:moveTo>
                  <a:pt x="4971" y="3788"/>
                </a:moveTo>
                <a:cubicBezTo>
                  <a:pt x="5001" y="3788"/>
                  <a:pt x="5030" y="3791"/>
                  <a:pt x="5059" y="3795"/>
                </a:cubicBezTo>
                <a:lnTo>
                  <a:pt x="5254" y="2656"/>
                </a:lnTo>
                <a:lnTo>
                  <a:pt x="4192" y="3100"/>
                </a:lnTo>
                <a:lnTo>
                  <a:pt x="4638" y="3892"/>
                </a:lnTo>
                <a:cubicBezTo>
                  <a:pt x="4732" y="3827"/>
                  <a:pt x="4847" y="3788"/>
                  <a:pt x="4971" y="3788"/>
                </a:cubicBezTo>
                <a:close/>
                <a:moveTo>
                  <a:pt x="5093" y="3801"/>
                </a:moveTo>
                <a:cubicBezTo>
                  <a:pt x="5206" y="3825"/>
                  <a:pt x="5306" y="3881"/>
                  <a:pt x="5384" y="3960"/>
                </a:cubicBezTo>
                <a:cubicBezTo>
                  <a:pt x="5462" y="4037"/>
                  <a:pt x="5517" y="4136"/>
                  <a:pt x="5542" y="4247"/>
                </a:cubicBezTo>
                <a:lnTo>
                  <a:pt x="5964" y="4083"/>
                </a:lnTo>
                <a:lnTo>
                  <a:pt x="7066" y="1961"/>
                </a:lnTo>
                <a:cubicBezTo>
                  <a:pt x="7049" y="1949"/>
                  <a:pt x="7034" y="1933"/>
                  <a:pt x="7024" y="1915"/>
                </a:cubicBezTo>
                <a:lnTo>
                  <a:pt x="5292" y="2640"/>
                </a:lnTo>
                <a:lnTo>
                  <a:pt x="5093" y="3801"/>
                </a:lnTo>
                <a:close/>
                <a:moveTo>
                  <a:pt x="4429" y="4152"/>
                </a:moveTo>
                <a:cubicBezTo>
                  <a:pt x="4459" y="4079"/>
                  <a:pt x="4502" y="4014"/>
                  <a:pt x="4557" y="3960"/>
                </a:cubicBezTo>
                <a:cubicBezTo>
                  <a:pt x="4573" y="3943"/>
                  <a:pt x="4591" y="3928"/>
                  <a:pt x="4609" y="3913"/>
                </a:cubicBezTo>
                <a:lnTo>
                  <a:pt x="4159" y="3114"/>
                </a:lnTo>
                <a:lnTo>
                  <a:pt x="3848" y="3244"/>
                </a:lnTo>
                <a:cubicBezTo>
                  <a:pt x="3883" y="3319"/>
                  <a:pt x="3903" y="3403"/>
                  <a:pt x="3903" y="3491"/>
                </a:cubicBezTo>
                <a:cubicBezTo>
                  <a:pt x="3903" y="3598"/>
                  <a:pt x="3874" y="3698"/>
                  <a:pt x="3824" y="3784"/>
                </a:cubicBezTo>
                <a:lnTo>
                  <a:pt x="4429" y="4152"/>
                </a:lnTo>
                <a:close/>
                <a:moveTo>
                  <a:pt x="5334" y="4009"/>
                </a:moveTo>
                <a:cubicBezTo>
                  <a:pt x="5241" y="3916"/>
                  <a:pt x="5113" y="3859"/>
                  <a:pt x="4971" y="3859"/>
                </a:cubicBezTo>
                <a:cubicBezTo>
                  <a:pt x="4828" y="3859"/>
                  <a:pt x="4700" y="3916"/>
                  <a:pt x="4607" y="4009"/>
                </a:cubicBezTo>
                <a:cubicBezTo>
                  <a:pt x="4514" y="4103"/>
                  <a:pt x="4456" y="4231"/>
                  <a:pt x="4456" y="4373"/>
                </a:cubicBezTo>
                <a:cubicBezTo>
                  <a:pt x="4456" y="4515"/>
                  <a:pt x="4514" y="4644"/>
                  <a:pt x="4607" y="4737"/>
                </a:cubicBezTo>
                <a:cubicBezTo>
                  <a:pt x="4700" y="4830"/>
                  <a:pt x="4828" y="4888"/>
                  <a:pt x="4971" y="4888"/>
                </a:cubicBezTo>
                <a:cubicBezTo>
                  <a:pt x="5113" y="4888"/>
                  <a:pt x="5241" y="4830"/>
                  <a:pt x="5334" y="4737"/>
                </a:cubicBezTo>
                <a:cubicBezTo>
                  <a:pt x="5427" y="4644"/>
                  <a:pt x="5485" y="4515"/>
                  <a:pt x="5485" y="4373"/>
                </a:cubicBezTo>
                <a:cubicBezTo>
                  <a:pt x="5485" y="4231"/>
                  <a:pt x="5427" y="4103"/>
                  <a:pt x="5334" y="4009"/>
                </a:cubicBezTo>
                <a:close/>
                <a:moveTo>
                  <a:pt x="1419" y="3294"/>
                </a:moveTo>
                <a:cubicBezTo>
                  <a:pt x="1419" y="3316"/>
                  <a:pt x="1419" y="3334"/>
                  <a:pt x="1391" y="3334"/>
                </a:cubicBezTo>
                <a:lnTo>
                  <a:pt x="1051" y="3334"/>
                </a:lnTo>
                <a:cubicBezTo>
                  <a:pt x="1024" y="3334"/>
                  <a:pt x="1023" y="3316"/>
                  <a:pt x="1023" y="3294"/>
                </a:cubicBezTo>
                <a:lnTo>
                  <a:pt x="1023" y="2975"/>
                </a:lnTo>
                <a:cubicBezTo>
                  <a:pt x="1023" y="2953"/>
                  <a:pt x="1024" y="2936"/>
                  <a:pt x="1051" y="2936"/>
                </a:cubicBezTo>
                <a:lnTo>
                  <a:pt x="1400" y="2936"/>
                </a:lnTo>
                <a:cubicBezTo>
                  <a:pt x="1428" y="2936"/>
                  <a:pt x="1419" y="2953"/>
                  <a:pt x="1419" y="2975"/>
                </a:cubicBezTo>
                <a:lnTo>
                  <a:pt x="1419" y="3294"/>
                </a:lnTo>
                <a:close/>
                <a:moveTo>
                  <a:pt x="1411" y="2880"/>
                </a:moveTo>
                <a:lnTo>
                  <a:pt x="1031" y="2880"/>
                </a:lnTo>
                <a:cubicBezTo>
                  <a:pt x="996" y="2880"/>
                  <a:pt x="968" y="2902"/>
                  <a:pt x="968" y="2930"/>
                </a:cubicBezTo>
                <a:lnTo>
                  <a:pt x="968" y="3339"/>
                </a:lnTo>
                <a:cubicBezTo>
                  <a:pt x="968" y="3367"/>
                  <a:pt x="996" y="3389"/>
                  <a:pt x="1031" y="3389"/>
                </a:cubicBezTo>
                <a:lnTo>
                  <a:pt x="1411" y="3389"/>
                </a:lnTo>
                <a:cubicBezTo>
                  <a:pt x="1446" y="3389"/>
                  <a:pt x="1475" y="3367"/>
                  <a:pt x="1475" y="3339"/>
                </a:cubicBezTo>
                <a:lnTo>
                  <a:pt x="1475" y="2930"/>
                </a:lnTo>
                <a:cubicBezTo>
                  <a:pt x="1475" y="2902"/>
                  <a:pt x="1446" y="2880"/>
                  <a:pt x="1411" y="2880"/>
                </a:cubicBezTo>
                <a:close/>
                <a:moveTo>
                  <a:pt x="1433" y="2861"/>
                </a:moveTo>
                <a:cubicBezTo>
                  <a:pt x="1418" y="2756"/>
                  <a:pt x="1396" y="2728"/>
                  <a:pt x="1367" y="2707"/>
                </a:cubicBezTo>
                <a:lnTo>
                  <a:pt x="1084" y="2707"/>
                </a:lnTo>
                <a:cubicBezTo>
                  <a:pt x="1028" y="2728"/>
                  <a:pt x="1009" y="2861"/>
                  <a:pt x="1009" y="2861"/>
                </a:cubicBezTo>
                <a:lnTo>
                  <a:pt x="1433" y="2861"/>
                </a:lnTo>
                <a:close/>
                <a:moveTo>
                  <a:pt x="1433" y="3408"/>
                </a:moveTo>
                <a:cubicBezTo>
                  <a:pt x="1418" y="3513"/>
                  <a:pt x="1396" y="3541"/>
                  <a:pt x="1367" y="3562"/>
                </a:cubicBezTo>
                <a:lnTo>
                  <a:pt x="1084" y="3562"/>
                </a:lnTo>
                <a:cubicBezTo>
                  <a:pt x="1028" y="3541"/>
                  <a:pt x="1009" y="3408"/>
                  <a:pt x="1009" y="3408"/>
                </a:cubicBezTo>
                <a:lnTo>
                  <a:pt x="1433" y="3408"/>
                </a:lnTo>
                <a:close/>
                <a:moveTo>
                  <a:pt x="1227" y="3044"/>
                </a:moveTo>
                <a:cubicBezTo>
                  <a:pt x="1227" y="3070"/>
                  <a:pt x="1205" y="3090"/>
                  <a:pt x="1178" y="3090"/>
                </a:cubicBezTo>
                <a:cubicBezTo>
                  <a:pt x="1151" y="3090"/>
                  <a:pt x="1129" y="3070"/>
                  <a:pt x="1129" y="3044"/>
                </a:cubicBezTo>
                <a:cubicBezTo>
                  <a:pt x="1129" y="3019"/>
                  <a:pt x="1151" y="2999"/>
                  <a:pt x="1178" y="2999"/>
                </a:cubicBezTo>
                <a:cubicBezTo>
                  <a:pt x="1205" y="2999"/>
                  <a:pt x="1227" y="3019"/>
                  <a:pt x="1227" y="3044"/>
                </a:cubicBezTo>
                <a:close/>
                <a:moveTo>
                  <a:pt x="1331" y="3044"/>
                </a:moveTo>
                <a:cubicBezTo>
                  <a:pt x="1331" y="3070"/>
                  <a:pt x="1309" y="3090"/>
                  <a:pt x="1282" y="3090"/>
                </a:cubicBezTo>
                <a:cubicBezTo>
                  <a:pt x="1255" y="3090"/>
                  <a:pt x="1233" y="3070"/>
                  <a:pt x="1233" y="3044"/>
                </a:cubicBezTo>
                <a:cubicBezTo>
                  <a:pt x="1233" y="3019"/>
                  <a:pt x="1255" y="2999"/>
                  <a:pt x="1282" y="2999"/>
                </a:cubicBezTo>
                <a:cubicBezTo>
                  <a:pt x="1309" y="2999"/>
                  <a:pt x="1331" y="3019"/>
                  <a:pt x="1331" y="3044"/>
                </a:cubicBezTo>
                <a:close/>
                <a:moveTo>
                  <a:pt x="1227" y="3239"/>
                </a:moveTo>
                <a:cubicBezTo>
                  <a:pt x="1227" y="3264"/>
                  <a:pt x="1205" y="3285"/>
                  <a:pt x="1178" y="3285"/>
                </a:cubicBezTo>
                <a:cubicBezTo>
                  <a:pt x="1151" y="3285"/>
                  <a:pt x="1129" y="3264"/>
                  <a:pt x="1129" y="3239"/>
                </a:cubicBezTo>
                <a:cubicBezTo>
                  <a:pt x="1129" y="3214"/>
                  <a:pt x="1151" y="3193"/>
                  <a:pt x="1178" y="3193"/>
                </a:cubicBezTo>
                <a:cubicBezTo>
                  <a:pt x="1205" y="3193"/>
                  <a:pt x="1227" y="3214"/>
                  <a:pt x="1227" y="3239"/>
                </a:cubicBezTo>
                <a:close/>
                <a:moveTo>
                  <a:pt x="1331" y="3239"/>
                </a:moveTo>
                <a:cubicBezTo>
                  <a:pt x="1331" y="3264"/>
                  <a:pt x="1309" y="3285"/>
                  <a:pt x="1282" y="3285"/>
                </a:cubicBezTo>
                <a:cubicBezTo>
                  <a:pt x="1255" y="3285"/>
                  <a:pt x="1233" y="3264"/>
                  <a:pt x="1233" y="3239"/>
                </a:cubicBezTo>
                <a:cubicBezTo>
                  <a:pt x="1233" y="3214"/>
                  <a:pt x="1255" y="3193"/>
                  <a:pt x="1282" y="3193"/>
                </a:cubicBezTo>
                <a:cubicBezTo>
                  <a:pt x="1309" y="3193"/>
                  <a:pt x="1331" y="3214"/>
                  <a:pt x="1331" y="3239"/>
                </a:cubicBezTo>
                <a:close/>
                <a:moveTo>
                  <a:pt x="1172" y="3142"/>
                </a:moveTo>
                <a:cubicBezTo>
                  <a:pt x="1172" y="3167"/>
                  <a:pt x="1150" y="3188"/>
                  <a:pt x="1122" y="3188"/>
                </a:cubicBezTo>
                <a:cubicBezTo>
                  <a:pt x="1095" y="3188"/>
                  <a:pt x="1073" y="3167"/>
                  <a:pt x="1073" y="3142"/>
                </a:cubicBezTo>
                <a:cubicBezTo>
                  <a:pt x="1073" y="3116"/>
                  <a:pt x="1095" y="3096"/>
                  <a:pt x="1122" y="3096"/>
                </a:cubicBezTo>
                <a:cubicBezTo>
                  <a:pt x="1150" y="3096"/>
                  <a:pt x="1172" y="3116"/>
                  <a:pt x="1172" y="3142"/>
                </a:cubicBezTo>
                <a:close/>
                <a:moveTo>
                  <a:pt x="1276" y="3142"/>
                </a:moveTo>
                <a:cubicBezTo>
                  <a:pt x="1276" y="3167"/>
                  <a:pt x="1254" y="3188"/>
                  <a:pt x="1227" y="3188"/>
                </a:cubicBezTo>
                <a:cubicBezTo>
                  <a:pt x="1200" y="3188"/>
                  <a:pt x="1178" y="3167"/>
                  <a:pt x="1178" y="3142"/>
                </a:cubicBezTo>
                <a:cubicBezTo>
                  <a:pt x="1178" y="3116"/>
                  <a:pt x="1200" y="3096"/>
                  <a:pt x="1227" y="3096"/>
                </a:cubicBezTo>
                <a:cubicBezTo>
                  <a:pt x="1254" y="3096"/>
                  <a:pt x="1276" y="3116"/>
                  <a:pt x="1276" y="3142"/>
                </a:cubicBezTo>
                <a:close/>
                <a:moveTo>
                  <a:pt x="1386" y="3142"/>
                </a:moveTo>
                <a:cubicBezTo>
                  <a:pt x="1386" y="3167"/>
                  <a:pt x="1364" y="3188"/>
                  <a:pt x="1337" y="3188"/>
                </a:cubicBezTo>
                <a:cubicBezTo>
                  <a:pt x="1310" y="3188"/>
                  <a:pt x="1288" y="3167"/>
                  <a:pt x="1288" y="3142"/>
                </a:cubicBezTo>
                <a:cubicBezTo>
                  <a:pt x="1288" y="3116"/>
                  <a:pt x="1310" y="3096"/>
                  <a:pt x="1337" y="3096"/>
                </a:cubicBezTo>
                <a:cubicBezTo>
                  <a:pt x="1364" y="3096"/>
                  <a:pt x="1386" y="3116"/>
                  <a:pt x="1386" y="3142"/>
                </a:cubicBezTo>
                <a:close/>
                <a:moveTo>
                  <a:pt x="1539" y="3626"/>
                </a:moveTo>
                <a:lnTo>
                  <a:pt x="2336" y="4925"/>
                </a:lnTo>
                <a:cubicBezTo>
                  <a:pt x="2347" y="4919"/>
                  <a:pt x="2359" y="4916"/>
                  <a:pt x="2372" y="4914"/>
                </a:cubicBezTo>
                <a:lnTo>
                  <a:pt x="2303" y="2866"/>
                </a:lnTo>
                <a:lnTo>
                  <a:pt x="1783" y="2531"/>
                </a:lnTo>
                <a:lnTo>
                  <a:pt x="1632" y="2718"/>
                </a:lnTo>
                <a:lnTo>
                  <a:pt x="1635" y="2721"/>
                </a:lnTo>
                <a:cubicBezTo>
                  <a:pt x="1741" y="2827"/>
                  <a:pt x="1806" y="2973"/>
                  <a:pt x="1806" y="3135"/>
                </a:cubicBezTo>
                <a:cubicBezTo>
                  <a:pt x="1806" y="3296"/>
                  <a:pt x="1741" y="3442"/>
                  <a:pt x="1635" y="3548"/>
                </a:cubicBezTo>
                <a:cubicBezTo>
                  <a:pt x="1606" y="3577"/>
                  <a:pt x="1574" y="3603"/>
                  <a:pt x="1539" y="3626"/>
                </a:cubicBezTo>
                <a:close/>
                <a:moveTo>
                  <a:pt x="1607" y="2694"/>
                </a:moveTo>
                <a:lnTo>
                  <a:pt x="1754" y="2512"/>
                </a:lnTo>
                <a:lnTo>
                  <a:pt x="1545" y="2378"/>
                </a:lnTo>
                <a:cubicBezTo>
                  <a:pt x="1519" y="2409"/>
                  <a:pt x="1480" y="2429"/>
                  <a:pt x="1437" y="2429"/>
                </a:cubicBezTo>
                <a:cubicBezTo>
                  <a:pt x="1432" y="2429"/>
                  <a:pt x="1428" y="2429"/>
                  <a:pt x="1423" y="2429"/>
                </a:cubicBezTo>
                <a:lnTo>
                  <a:pt x="1391" y="2575"/>
                </a:lnTo>
                <a:cubicBezTo>
                  <a:pt x="1472" y="2599"/>
                  <a:pt x="1545" y="2640"/>
                  <a:pt x="1607" y="2694"/>
                </a:cubicBezTo>
                <a:close/>
                <a:moveTo>
                  <a:pt x="1585" y="2771"/>
                </a:moveTo>
                <a:cubicBezTo>
                  <a:pt x="1492" y="2678"/>
                  <a:pt x="1363" y="2620"/>
                  <a:pt x="1221" y="2620"/>
                </a:cubicBezTo>
                <a:cubicBezTo>
                  <a:pt x="1079" y="2620"/>
                  <a:pt x="951" y="2678"/>
                  <a:pt x="857" y="2771"/>
                </a:cubicBezTo>
                <a:cubicBezTo>
                  <a:pt x="764" y="2864"/>
                  <a:pt x="707" y="2992"/>
                  <a:pt x="707" y="3135"/>
                </a:cubicBezTo>
                <a:cubicBezTo>
                  <a:pt x="707" y="3277"/>
                  <a:pt x="764" y="3405"/>
                  <a:pt x="857" y="3498"/>
                </a:cubicBezTo>
                <a:cubicBezTo>
                  <a:pt x="951" y="3591"/>
                  <a:pt x="1079" y="3649"/>
                  <a:pt x="1221" y="3649"/>
                </a:cubicBezTo>
                <a:cubicBezTo>
                  <a:pt x="1363" y="3649"/>
                  <a:pt x="1492" y="3591"/>
                  <a:pt x="1585" y="3498"/>
                </a:cubicBezTo>
                <a:cubicBezTo>
                  <a:pt x="1678" y="3405"/>
                  <a:pt x="1736" y="3277"/>
                  <a:pt x="1736" y="3135"/>
                </a:cubicBezTo>
                <a:cubicBezTo>
                  <a:pt x="1736" y="2992"/>
                  <a:pt x="1678" y="2864"/>
                  <a:pt x="1585" y="2771"/>
                </a:cubicBezTo>
                <a:close/>
                <a:moveTo>
                  <a:pt x="2887" y="3427"/>
                </a:moveTo>
                <a:lnTo>
                  <a:pt x="2888" y="3451"/>
                </a:lnTo>
                <a:lnTo>
                  <a:pt x="2888" y="3451"/>
                </a:lnTo>
                <a:lnTo>
                  <a:pt x="2887" y="3427"/>
                </a:lnTo>
                <a:close/>
                <a:moveTo>
                  <a:pt x="3367" y="3461"/>
                </a:moveTo>
                <a:cubicBezTo>
                  <a:pt x="3367" y="3474"/>
                  <a:pt x="3369" y="3488"/>
                  <a:pt x="3372" y="3505"/>
                </a:cubicBezTo>
                <a:cubicBezTo>
                  <a:pt x="3381" y="3553"/>
                  <a:pt x="3440" y="3585"/>
                  <a:pt x="3535" y="3593"/>
                </a:cubicBezTo>
                <a:cubicBezTo>
                  <a:pt x="3554" y="3595"/>
                  <a:pt x="3574" y="3595"/>
                  <a:pt x="3595" y="3595"/>
                </a:cubicBezTo>
                <a:cubicBezTo>
                  <a:pt x="3703" y="3593"/>
                  <a:pt x="3730" y="3534"/>
                  <a:pt x="3729" y="3499"/>
                </a:cubicBezTo>
                <a:lnTo>
                  <a:pt x="3727" y="3454"/>
                </a:lnTo>
                <a:lnTo>
                  <a:pt x="3721" y="3454"/>
                </a:lnTo>
                <a:lnTo>
                  <a:pt x="3722" y="3444"/>
                </a:lnTo>
                <a:cubicBezTo>
                  <a:pt x="3723" y="3431"/>
                  <a:pt x="3721" y="3418"/>
                  <a:pt x="3716" y="3405"/>
                </a:cubicBezTo>
                <a:lnTo>
                  <a:pt x="3715" y="3402"/>
                </a:lnTo>
                <a:cubicBezTo>
                  <a:pt x="3703" y="3395"/>
                  <a:pt x="3676" y="3384"/>
                  <a:pt x="3622" y="3380"/>
                </a:cubicBezTo>
                <a:cubicBezTo>
                  <a:pt x="3598" y="3378"/>
                  <a:pt x="3570" y="3377"/>
                  <a:pt x="3540" y="3377"/>
                </a:cubicBezTo>
                <a:cubicBezTo>
                  <a:pt x="3466" y="3379"/>
                  <a:pt x="3421" y="3387"/>
                  <a:pt x="3395" y="3404"/>
                </a:cubicBezTo>
                <a:lnTo>
                  <a:pt x="3389" y="3413"/>
                </a:lnTo>
                <a:cubicBezTo>
                  <a:pt x="3381" y="3426"/>
                  <a:pt x="3377" y="3439"/>
                  <a:pt x="3376" y="3452"/>
                </a:cubicBezTo>
                <a:lnTo>
                  <a:pt x="3375" y="3460"/>
                </a:lnTo>
                <a:lnTo>
                  <a:pt x="3367" y="3461"/>
                </a:lnTo>
                <a:close/>
                <a:moveTo>
                  <a:pt x="2914" y="3512"/>
                </a:moveTo>
                <a:lnTo>
                  <a:pt x="2914" y="3514"/>
                </a:lnTo>
                <a:cubicBezTo>
                  <a:pt x="2915" y="3551"/>
                  <a:pt x="2945" y="3597"/>
                  <a:pt x="3026" y="3604"/>
                </a:cubicBezTo>
                <a:cubicBezTo>
                  <a:pt x="3035" y="3605"/>
                  <a:pt x="3044" y="3605"/>
                  <a:pt x="3053" y="3605"/>
                </a:cubicBezTo>
                <a:cubicBezTo>
                  <a:pt x="3183" y="3603"/>
                  <a:pt x="3264" y="3566"/>
                  <a:pt x="3270" y="3507"/>
                </a:cubicBezTo>
                <a:cubicBezTo>
                  <a:pt x="3272" y="3492"/>
                  <a:pt x="3273" y="3477"/>
                  <a:pt x="3273" y="3462"/>
                </a:cubicBezTo>
                <a:lnTo>
                  <a:pt x="3260" y="3462"/>
                </a:lnTo>
                <a:lnTo>
                  <a:pt x="3235" y="3403"/>
                </a:lnTo>
                <a:cubicBezTo>
                  <a:pt x="3218" y="3395"/>
                  <a:pt x="3195" y="3390"/>
                  <a:pt x="3164" y="3387"/>
                </a:cubicBezTo>
                <a:cubicBezTo>
                  <a:pt x="3144" y="3386"/>
                  <a:pt x="3122" y="3385"/>
                  <a:pt x="3095" y="3386"/>
                </a:cubicBezTo>
                <a:cubicBezTo>
                  <a:pt x="3002" y="3387"/>
                  <a:pt x="2956" y="3400"/>
                  <a:pt x="2933" y="3410"/>
                </a:cubicBezTo>
                <a:lnTo>
                  <a:pt x="2929" y="3420"/>
                </a:lnTo>
                <a:cubicBezTo>
                  <a:pt x="2928" y="3424"/>
                  <a:pt x="2927" y="3428"/>
                  <a:pt x="2926" y="3432"/>
                </a:cubicBezTo>
                <a:lnTo>
                  <a:pt x="3108" y="3432"/>
                </a:lnTo>
                <a:lnTo>
                  <a:pt x="3108" y="3512"/>
                </a:lnTo>
                <a:lnTo>
                  <a:pt x="2914" y="3512"/>
                </a:lnTo>
                <a:close/>
                <a:moveTo>
                  <a:pt x="3048" y="3623"/>
                </a:moveTo>
                <a:cubicBezTo>
                  <a:pt x="3040" y="3623"/>
                  <a:pt x="3031" y="3623"/>
                  <a:pt x="3024" y="3622"/>
                </a:cubicBezTo>
                <a:cubicBezTo>
                  <a:pt x="2927" y="3614"/>
                  <a:pt x="2891" y="3559"/>
                  <a:pt x="2890" y="3514"/>
                </a:cubicBezTo>
                <a:lnTo>
                  <a:pt x="2889" y="3469"/>
                </a:lnTo>
                <a:lnTo>
                  <a:pt x="2865" y="3470"/>
                </a:lnTo>
                <a:lnTo>
                  <a:pt x="2863" y="3410"/>
                </a:lnTo>
                <a:lnTo>
                  <a:pt x="2898" y="3409"/>
                </a:lnTo>
                <a:cubicBezTo>
                  <a:pt x="2916" y="3393"/>
                  <a:pt x="2965" y="3370"/>
                  <a:pt x="3094" y="3368"/>
                </a:cubicBezTo>
                <a:cubicBezTo>
                  <a:pt x="3122" y="3367"/>
                  <a:pt x="3146" y="3368"/>
                  <a:pt x="3167" y="3370"/>
                </a:cubicBezTo>
                <a:cubicBezTo>
                  <a:pt x="3215" y="3374"/>
                  <a:pt x="3249" y="3384"/>
                  <a:pt x="3270" y="3402"/>
                </a:cubicBezTo>
                <a:lnTo>
                  <a:pt x="3366" y="3400"/>
                </a:lnTo>
                <a:cubicBezTo>
                  <a:pt x="3367" y="3400"/>
                  <a:pt x="3368" y="3399"/>
                  <a:pt x="3369" y="3398"/>
                </a:cubicBezTo>
                <a:cubicBezTo>
                  <a:pt x="3397" y="3373"/>
                  <a:pt x="3450" y="3361"/>
                  <a:pt x="3539" y="3359"/>
                </a:cubicBezTo>
                <a:cubicBezTo>
                  <a:pt x="3571" y="3359"/>
                  <a:pt x="3599" y="3360"/>
                  <a:pt x="3624" y="3362"/>
                </a:cubicBezTo>
                <a:cubicBezTo>
                  <a:pt x="3691" y="3367"/>
                  <a:pt x="3723" y="3382"/>
                  <a:pt x="3738" y="3394"/>
                </a:cubicBezTo>
                <a:lnTo>
                  <a:pt x="3771" y="3393"/>
                </a:lnTo>
                <a:lnTo>
                  <a:pt x="3773" y="3453"/>
                </a:lnTo>
                <a:lnTo>
                  <a:pt x="3751" y="3453"/>
                </a:lnTo>
                <a:lnTo>
                  <a:pt x="3753" y="3499"/>
                </a:lnTo>
                <a:cubicBezTo>
                  <a:pt x="3754" y="3540"/>
                  <a:pt x="3722" y="3611"/>
                  <a:pt x="3596" y="3613"/>
                </a:cubicBezTo>
                <a:cubicBezTo>
                  <a:pt x="3574" y="3613"/>
                  <a:pt x="3553" y="3613"/>
                  <a:pt x="3533" y="3611"/>
                </a:cubicBezTo>
                <a:cubicBezTo>
                  <a:pt x="3426" y="3602"/>
                  <a:pt x="3359" y="3564"/>
                  <a:pt x="3349" y="3508"/>
                </a:cubicBezTo>
                <a:cubicBezTo>
                  <a:pt x="3346" y="3490"/>
                  <a:pt x="3344" y="3475"/>
                  <a:pt x="3344" y="3461"/>
                </a:cubicBezTo>
                <a:lnTo>
                  <a:pt x="3296" y="3462"/>
                </a:lnTo>
                <a:cubicBezTo>
                  <a:pt x="3297" y="3477"/>
                  <a:pt x="3296" y="3493"/>
                  <a:pt x="3294" y="3509"/>
                </a:cubicBezTo>
                <a:cubicBezTo>
                  <a:pt x="3286" y="3578"/>
                  <a:pt x="3196" y="3620"/>
                  <a:pt x="3054" y="3623"/>
                </a:cubicBezTo>
                <a:cubicBezTo>
                  <a:pt x="3052" y="3623"/>
                  <a:pt x="3050" y="3623"/>
                  <a:pt x="3048" y="3623"/>
                </a:cubicBezTo>
                <a:close/>
                <a:moveTo>
                  <a:pt x="3318" y="2906"/>
                </a:moveTo>
                <a:cubicBezTo>
                  <a:pt x="3381" y="2906"/>
                  <a:pt x="3442" y="2916"/>
                  <a:pt x="3499" y="2935"/>
                </a:cubicBezTo>
                <a:lnTo>
                  <a:pt x="3770" y="2423"/>
                </a:lnTo>
                <a:lnTo>
                  <a:pt x="3228" y="1461"/>
                </a:lnTo>
                <a:cubicBezTo>
                  <a:pt x="3212" y="1468"/>
                  <a:pt x="3193" y="1472"/>
                  <a:pt x="3174" y="1472"/>
                </a:cubicBezTo>
                <a:cubicBezTo>
                  <a:pt x="3130" y="1472"/>
                  <a:pt x="3090" y="1451"/>
                  <a:pt x="3064" y="1419"/>
                </a:cubicBezTo>
                <a:cubicBezTo>
                  <a:pt x="2848" y="1553"/>
                  <a:pt x="2632" y="1686"/>
                  <a:pt x="2417" y="1820"/>
                </a:cubicBezTo>
                <a:cubicBezTo>
                  <a:pt x="2425" y="1838"/>
                  <a:pt x="2430" y="1858"/>
                  <a:pt x="2430" y="1880"/>
                </a:cubicBezTo>
                <a:cubicBezTo>
                  <a:pt x="2430" y="1950"/>
                  <a:pt x="2378" y="2009"/>
                  <a:pt x="2310" y="2020"/>
                </a:cubicBezTo>
                <a:lnTo>
                  <a:pt x="2338" y="2846"/>
                </a:lnTo>
                <a:lnTo>
                  <a:pt x="2833" y="3165"/>
                </a:lnTo>
                <a:cubicBezTo>
                  <a:pt x="2854" y="3133"/>
                  <a:pt x="2878" y="3104"/>
                  <a:pt x="2904" y="3078"/>
                </a:cubicBezTo>
                <a:cubicBezTo>
                  <a:pt x="3010" y="2972"/>
                  <a:pt x="3157" y="2906"/>
                  <a:pt x="3318" y="2906"/>
                </a:cubicBezTo>
                <a:close/>
                <a:moveTo>
                  <a:pt x="3532" y="2947"/>
                </a:moveTo>
                <a:cubicBezTo>
                  <a:pt x="3608" y="2976"/>
                  <a:pt x="3675" y="3021"/>
                  <a:pt x="3732" y="3078"/>
                </a:cubicBezTo>
                <a:cubicBezTo>
                  <a:pt x="3771" y="3117"/>
                  <a:pt x="3805" y="3163"/>
                  <a:pt x="3832" y="3213"/>
                </a:cubicBezTo>
                <a:lnTo>
                  <a:pt x="4142" y="3083"/>
                </a:lnTo>
                <a:lnTo>
                  <a:pt x="3791" y="2460"/>
                </a:lnTo>
                <a:lnTo>
                  <a:pt x="3532" y="2947"/>
                </a:lnTo>
                <a:close/>
                <a:moveTo>
                  <a:pt x="2959" y="3953"/>
                </a:moveTo>
                <a:cubicBezTo>
                  <a:pt x="2940" y="3938"/>
                  <a:pt x="2921" y="3922"/>
                  <a:pt x="2904" y="3905"/>
                </a:cubicBezTo>
                <a:cubicBezTo>
                  <a:pt x="2799" y="3799"/>
                  <a:pt x="2733" y="3653"/>
                  <a:pt x="2733" y="3491"/>
                </a:cubicBezTo>
                <a:cubicBezTo>
                  <a:pt x="2733" y="3383"/>
                  <a:pt x="2763" y="3281"/>
                  <a:pt x="2814" y="3194"/>
                </a:cubicBezTo>
                <a:lnTo>
                  <a:pt x="2339" y="2889"/>
                </a:lnTo>
                <a:lnTo>
                  <a:pt x="2407" y="4913"/>
                </a:lnTo>
                <a:cubicBezTo>
                  <a:pt x="2420" y="4914"/>
                  <a:pt x="2433" y="4917"/>
                  <a:pt x="2445" y="4921"/>
                </a:cubicBezTo>
                <a:lnTo>
                  <a:pt x="2959" y="3953"/>
                </a:lnTo>
                <a:close/>
                <a:moveTo>
                  <a:pt x="3682" y="3127"/>
                </a:moveTo>
                <a:cubicBezTo>
                  <a:pt x="3589" y="3034"/>
                  <a:pt x="3460" y="2977"/>
                  <a:pt x="3318" y="2977"/>
                </a:cubicBezTo>
                <a:cubicBezTo>
                  <a:pt x="3176" y="2977"/>
                  <a:pt x="3047" y="3034"/>
                  <a:pt x="2954" y="3127"/>
                </a:cubicBezTo>
                <a:cubicBezTo>
                  <a:pt x="2861" y="3220"/>
                  <a:pt x="2804" y="3349"/>
                  <a:pt x="2804" y="3491"/>
                </a:cubicBezTo>
                <a:cubicBezTo>
                  <a:pt x="2804" y="3633"/>
                  <a:pt x="2861" y="3762"/>
                  <a:pt x="2954" y="3855"/>
                </a:cubicBezTo>
                <a:cubicBezTo>
                  <a:pt x="3047" y="3948"/>
                  <a:pt x="3176" y="4006"/>
                  <a:pt x="3318" y="4006"/>
                </a:cubicBezTo>
                <a:cubicBezTo>
                  <a:pt x="3460" y="4006"/>
                  <a:pt x="3589" y="3948"/>
                  <a:pt x="3682" y="3855"/>
                </a:cubicBezTo>
                <a:cubicBezTo>
                  <a:pt x="3775" y="3762"/>
                  <a:pt x="3832" y="3633"/>
                  <a:pt x="3832" y="3491"/>
                </a:cubicBezTo>
                <a:cubicBezTo>
                  <a:pt x="3832" y="3349"/>
                  <a:pt x="3775" y="3220"/>
                  <a:pt x="3682" y="3127"/>
                </a:cubicBezTo>
                <a:close/>
                <a:moveTo>
                  <a:pt x="7638" y="2863"/>
                </a:moveTo>
                <a:cubicBezTo>
                  <a:pt x="7800" y="2863"/>
                  <a:pt x="7946" y="2929"/>
                  <a:pt x="8052" y="3035"/>
                </a:cubicBezTo>
                <a:cubicBezTo>
                  <a:pt x="8158" y="3140"/>
                  <a:pt x="8223" y="3287"/>
                  <a:pt x="8223" y="3448"/>
                </a:cubicBezTo>
                <a:cubicBezTo>
                  <a:pt x="8223" y="3456"/>
                  <a:pt x="8223" y="3464"/>
                  <a:pt x="8223" y="3472"/>
                </a:cubicBezTo>
                <a:lnTo>
                  <a:pt x="11263" y="3628"/>
                </a:lnTo>
                <a:cubicBezTo>
                  <a:pt x="11264" y="3623"/>
                  <a:pt x="11265" y="3619"/>
                  <a:pt x="11266" y="3614"/>
                </a:cubicBezTo>
                <a:lnTo>
                  <a:pt x="7269" y="1915"/>
                </a:lnTo>
                <a:cubicBezTo>
                  <a:pt x="7254" y="1942"/>
                  <a:pt x="7231" y="1962"/>
                  <a:pt x="7203" y="1974"/>
                </a:cubicBezTo>
                <a:lnTo>
                  <a:pt x="7467" y="2889"/>
                </a:lnTo>
                <a:cubicBezTo>
                  <a:pt x="7521" y="2872"/>
                  <a:pt x="7579" y="2863"/>
                  <a:pt x="7638" y="2863"/>
                </a:cubicBezTo>
                <a:close/>
                <a:moveTo>
                  <a:pt x="7087" y="3645"/>
                </a:moveTo>
                <a:cubicBezTo>
                  <a:pt x="7065" y="3584"/>
                  <a:pt x="7053" y="3517"/>
                  <a:pt x="7053" y="3448"/>
                </a:cubicBezTo>
                <a:cubicBezTo>
                  <a:pt x="7053" y="3287"/>
                  <a:pt x="7119" y="3140"/>
                  <a:pt x="7225" y="3035"/>
                </a:cubicBezTo>
                <a:cubicBezTo>
                  <a:pt x="7284" y="2976"/>
                  <a:pt x="7355" y="2930"/>
                  <a:pt x="7434" y="2900"/>
                </a:cubicBezTo>
                <a:lnTo>
                  <a:pt x="7169" y="1984"/>
                </a:lnTo>
                <a:cubicBezTo>
                  <a:pt x="7162" y="1985"/>
                  <a:pt x="7154" y="1986"/>
                  <a:pt x="7147" y="1986"/>
                </a:cubicBezTo>
                <a:cubicBezTo>
                  <a:pt x="7129" y="1986"/>
                  <a:pt x="7113" y="1983"/>
                  <a:pt x="7097" y="1977"/>
                </a:cubicBezTo>
                <a:lnTo>
                  <a:pt x="6013" y="4064"/>
                </a:lnTo>
                <a:lnTo>
                  <a:pt x="7087" y="3645"/>
                </a:lnTo>
                <a:close/>
                <a:moveTo>
                  <a:pt x="8002" y="3084"/>
                </a:moveTo>
                <a:cubicBezTo>
                  <a:pt x="7909" y="2991"/>
                  <a:pt x="7780" y="2934"/>
                  <a:pt x="7638" y="2934"/>
                </a:cubicBezTo>
                <a:cubicBezTo>
                  <a:pt x="7496" y="2934"/>
                  <a:pt x="7368" y="2991"/>
                  <a:pt x="7275" y="3084"/>
                </a:cubicBezTo>
                <a:cubicBezTo>
                  <a:pt x="7181" y="3178"/>
                  <a:pt x="7124" y="3306"/>
                  <a:pt x="7124" y="3448"/>
                </a:cubicBezTo>
                <a:cubicBezTo>
                  <a:pt x="7124" y="3590"/>
                  <a:pt x="7181" y="3719"/>
                  <a:pt x="7275" y="3812"/>
                </a:cubicBezTo>
                <a:cubicBezTo>
                  <a:pt x="7368" y="3905"/>
                  <a:pt x="7496" y="3963"/>
                  <a:pt x="7638" y="3963"/>
                </a:cubicBezTo>
                <a:cubicBezTo>
                  <a:pt x="7780" y="3963"/>
                  <a:pt x="7909" y="3905"/>
                  <a:pt x="8002" y="3812"/>
                </a:cubicBezTo>
                <a:cubicBezTo>
                  <a:pt x="8095" y="3719"/>
                  <a:pt x="8153" y="3590"/>
                  <a:pt x="8153" y="3448"/>
                </a:cubicBezTo>
                <a:cubicBezTo>
                  <a:pt x="8153" y="3306"/>
                  <a:pt x="8095" y="3178"/>
                  <a:pt x="8002" y="3084"/>
                </a:cubicBezTo>
                <a:close/>
                <a:moveTo>
                  <a:pt x="7875" y="3566"/>
                </a:moveTo>
                <a:lnTo>
                  <a:pt x="7799" y="3567"/>
                </a:lnTo>
                <a:lnTo>
                  <a:pt x="7799" y="3487"/>
                </a:lnTo>
                <a:lnTo>
                  <a:pt x="7875" y="3486"/>
                </a:lnTo>
                <a:lnTo>
                  <a:pt x="7951" y="3486"/>
                </a:lnTo>
                <a:lnTo>
                  <a:pt x="7952" y="3566"/>
                </a:lnTo>
                <a:lnTo>
                  <a:pt x="7875" y="3566"/>
                </a:lnTo>
                <a:close/>
                <a:moveTo>
                  <a:pt x="7637" y="3318"/>
                </a:moveTo>
                <a:lnTo>
                  <a:pt x="7400" y="3320"/>
                </a:lnTo>
                <a:lnTo>
                  <a:pt x="7382" y="3320"/>
                </a:lnTo>
                <a:lnTo>
                  <a:pt x="7400" y="3284"/>
                </a:lnTo>
                <a:lnTo>
                  <a:pt x="7445" y="3195"/>
                </a:lnTo>
                <a:lnTo>
                  <a:pt x="7636" y="3194"/>
                </a:lnTo>
                <a:lnTo>
                  <a:pt x="7828" y="3193"/>
                </a:lnTo>
                <a:lnTo>
                  <a:pt x="7874" y="3282"/>
                </a:lnTo>
                <a:lnTo>
                  <a:pt x="7893" y="3317"/>
                </a:lnTo>
                <a:lnTo>
                  <a:pt x="7874" y="3317"/>
                </a:lnTo>
                <a:lnTo>
                  <a:pt x="7637" y="3318"/>
                </a:lnTo>
                <a:close/>
                <a:moveTo>
                  <a:pt x="7401" y="3569"/>
                </a:moveTo>
                <a:lnTo>
                  <a:pt x="7325" y="3569"/>
                </a:lnTo>
                <a:lnTo>
                  <a:pt x="7325" y="3489"/>
                </a:lnTo>
                <a:lnTo>
                  <a:pt x="7401" y="3489"/>
                </a:lnTo>
                <a:lnTo>
                  <a:pt x="7477" y="3488"/>
                </a:lnTo>
                <a:lnTo>
                  <a:pt x="7478" y="3568"/>
                </a:lnTo>
                <a:lnTo>
                  <a:pt x="7401" y="3569"/>
                </a:lnTo>
                <a:close/>
                <a:moveTo>
                  <a:pt x="8021" y="3626"/>
                </a:moveTo>
                <a:lnTo>
                  <a:pt x="8019" y="3363"/>
                </a:lnTo>
                <a:lnTo>
                  <a:pt x="7942" y="3279"/>
                </a:lnTo>
                <a:lnTo>
                  <a:pt x="7873" y="3144"/>
                </a:lnTo>
                <a:lnTo>
                  <a:pt x="7402" y="3144"/>
                </a:lnTo>
                <a:lnTo>
                  <a:pt x="7399" y="3153"/>
                </a:lnTo>
                <a:lnTo>
                  <a:pt x="7332" y="3282"/>
                </a:lnTo>
                <a:lnTo>
                  <a:pt x="7255" y="3367"/>
                </a:lnTo>
                <a:lnTo>
                  <a:pt x="7257" y="3612"/>
                </a:lnTo>
                <a:lnTo>
                  <a:pt x="7257" y="3631"/>
                </a:lnTo>
                <a:lnTo>
                  <a:pt x="7257" y="3718"/>
                </a:lnTo>
                <a:cubicBezTo>
                  <a:pt x="7257" y="3737"/>
                  <a:pt x="7273" y="3753"/>
                  <a:pt x="7292" y="3753"/>
                </a:cubicBezTo>
                <a:lnTo>
                  <a:pt x="7402" y="3752"/>
                </a:lnTo>
                <a:lnTo>
                  <a:pt x="7404" y="3752"/>
                </a:lnTo>
                <a:cubicBezTo>
                  <a:pt x="7423" y="3752"/>
                  <a:pt x="7439" y="3736"/>
                  <a:pt x="7439" y="3717"/>
                </a:cubicBezTo>
                <a:lnTo>
                  <a:pt x="7439" y="3630"/>
                </a:lnTo>
                <a:lnTo>
                  <a:pt x="7639" y="3628"/>
                </a:lnTo>
                <a:lnTo>
                  <a:pt x="7839" y="3627"/>
                </a:lnTo>
                <a:lnTo>
                  <a:pt x="7839" y="3715"/>
                </a:lnTo>
                <a:cubicBezTo>
                  <a:pt x="7839" y="3734"/>
                  <a:pt x="7855" y="3750"/>
                  <a:pt x="7874" y="3750"/>
                </a:cubicBezTo>
                <a:lnTo>
                  <a:pt x="7877" y="3750"/>
                </a:lnTo>
                <a:lnTo>
                  <a:pt x="7986" y="3749"/>
                </a:lnTo>
                <a:cubicBezTo>
                  <a:pt x="8006" y="3749"/>
                  <a:pt x="8021" y="3733"/>
                  <a:pt x="8021" y="3714"/>
                </a:cubicBezTo>
                <a:lnTo>
                  <a:pt x="8021" y="3626"/>
                </a:lnTo>
                <a:close/>
                <a:moveTo>
                  <a:pt x="5749" y="1608"/>
                </a:moveTo>
                <a:cubicBezTo>
                  <a:pt x="5756" y="1601"/>
                  <a:pt x="5762" y="1591"/>
                  <a:pt x="5762" y="1581"/>
                </a:cubicBezTo>
                <a:cubicBezTo>
                  <a:pt x="5762" y="1564"/>
                  <a:pt x="5750" y="1550"/>
                  <a:pt x="5738" y="1545"/>
                </a:cubicBezTo>
                <a:lnTo>
                  <a:pt x="5738" y="1334"/>
                </a:lnTo>
                <a:lnTo>
                  <a:pt x="5746" y="1330"/>
                </a:lnTo>
                <a:lnTo>
                  <a:pt x="5738" y="1327"/>
                </a:lnTo>
                <a:lnTo>
                  <a:pt x="5738" y="1324"/>
                </a:lnTo>
                <a:lnTo>
                  <a:pt x="5731" y="1324"/>
                </a:lnTo>
                <a:lnTo>
                  <a:pt x="5373" y="1165"/>
                </a:lnTo>
                <a:lnTo>
                  <a:pt x="4991" y="1334"/>
                </a:lnTo>
                <a:lnTo>
                  <a:pt x="5366" y="1503"/>
                </a:lnTo>
                <a:lnTo>
                  <a:pt x="5714" y="1345"/>
                </a:lnTo>
                <a:lnTo>
                  <a:pt x="5714" y="1545"/>
                </a:lnTo>
                <a:cubicBezTo>
                  <a:pt x="5690" y="1550"/>
                  <a:pt x="5687" y="1564"/>
                  <a:pt x="5687" y="1580"/>
                </a:cubicBezTo>
                <a:cubicBezTo>
                  <a:pt x="5687" y="1592"/>
                  <a:pt x="5692" y="1603"/>
                  <a:pt x="5700" y="1610"/>
                </a:cubicBezTo>
                <a:cubicBezTo>
                  <a:pt x="5692" y="1635"/>
                  <a:pt x="5680" y="1691"/>
                  <a:pt x="5688" y="1750"/>
                </a:cubicBezTo>
                <a:lnTo>
                  <a:pt x="5761" y="1750"/>
                </a:lnTo>
                <a:cubicBezTo>
                  <a:pt x="5769" y="1691"/>
                  <a:pt x="5757" y="1632"/>
                  <a:pt x="5749" y="1608"/>
                </a:cubicBezTo>
                <a:close/>
                <a:moveTo>
                  <a:pt x="5146" y="1435"/>
                </a:moveTo>
                <a:lnTo>
                  <a:pt x="5146" y="1685"/>
                </a:lnTo>
                <a:cubicBezTo>
                  <a:pt x="5206" y="1748"/>
                  <a:pt x="5312" y="1758"/>
                  <a:pt x="5347" y="1760"/>
                </a:cubicBezTo>
                <a:lnTo>
                  <a:pt x="5347" y="1760"/>
                </a:lnTo>
                <a:cubicBezTo>
                  <a:pt x="5347" y="1760"/>
                  <a:pt x="5356" y="1760"/>
                  <a:pt x="5359" y="1760"/>
                </a:cubicBezTo>
                <a:cubicBezTo>
                  <a:pt x="5363" y="1760"/>
                  <a:pt x="5371" y="1760"/>
                  <a:pt x="5371" y="1760"/>
                </a:cubicBezTo>
                <a:lnTo>
                  <a:pt x="5371" y="1760"/>
                </a:lnTo>
                <a:cubicBezTo>
                  <a:pt x="5395" y="1758"/>
                  <a:pt x="5513" y="1748"/>
                  <a:pt x="5572" y="1685"/>
                </a:cubicBezTo>
                <a:lnTo>
                  <a:pt x="5572" y="1435"/>
                </a:lnTo>
                <a:cubicBezTo>
                  <a:pt x="5572" y="1437"/>
                  <a:pt x="5394" y="1521"/>
                  <a:pt x="5359" y="1538"/>
                </a:cubicBezTo>
                <a:cubicBezTo>
                  <a:pt x="5324" y="1521"/>
                  <a:pt x="5146" y="1437"/>
                  <a:pt x="5146" y="1435"/>
                </a:cubicBezTo>
                <a:close/>
                <a:moveTo>
                  <a:pt x="4797" y="1545"/>
                </a:moveTo>
                <a:cubicBezTo>
                  <a:pt x="4797" y="1547"/>
                  <a:pt x="4798" y="1549"/>
                  <a:pt x="4798" y="1551"/>
                </a:cubicBezTo>
                <a:cubicBezTo>
                  <a:pt x="4798" y="1549"/>
                  <a:pt x="4797" y="1547"/>
                  <a:pt x="4797" y="1545"/>
                </a:cubicBezTo>
                <a:close/>
                <a:moveTo>
                  <a:pt x="4802" y="1575"/>
                </a:moveTo>
                <a:lnTo>
                  <a:pt x="4803" y="1579"/>
                </a:lnTo>
                <a:lnTo>
                  <a:pt x="4380" y="1592"/>
                </a:lnTo>
                <a:cubicBezTo>
                  <a:pt x="4373" y="1664"/>
                  <a:pt x="4312" y="1720"/>
                  <a:pt x="4238" y="1720"/>
                </a:cubicBezTo>
                <a:cubicBezTo>
                  <a:pt x="4221" y="1720"/>
                  <a:pt x="4204" y="1717"/>
                  <a:pt x="4188" y="1711"/>
                </a:cubicBezTo>
                <a:lnTo>
                  <a:pt x="3810" y="2423"/>
                </a:lnTo>
                <a:lnTo>
                  <a:pt x="4175" y="3069"/>
                </a:lnTo>
                <a:lnTo>
                  <a:pt x="5261" y="2615"/>
                </a:lnTo>
                <a:lnTo>
                  <a:pt x="5357" y="2054"/>
                </a:lnTo>
                <a:cubicBezTo>
                  <a:pt x="5203" y="2049"/>
                  <a:pt x="5065" y="1985"/>
                  <a:pt x="4964" y="1883"/>
                </a:cubicBezTo>
                <a:cubicBezTo>
                  <a:pt x="4881" y="1801"/>
                  <a:pt x="4823" y="1694"/>
                  <a:pt x="4802" y="1575"/>
                </a:cubicBezTo>
                <a:close/>
                <a:moveTo>
                  <a:pt x="5364" y="2055"/>
                </a:moveTo>
                <a:cubicBezTo>
                  <a:pt x="5366" y="2055"/>
                  <a:pt x="5367" y="2055"/>
                  <a:pt x="5369" y="2055"/>
                </a:cubicBezTo>
                <a:cubicBezTo>
                  <a:pt x="5367" y="2055"/>
                  <a:pt x="5366" y="2055"/>
                  <a:pt x="5364" y="2055"/>
                </a:cubicBezTo>
                <a:close/>
                <a:moveTo>
                  <a:pt x="5370" y="2055"/>
                </a:moveTo>
                <a:cubicBezTo>
                  <a:pt x="5373" y="2055"/>
                  <a:pt x="5375" y="2055"/>
                  <a:pt x="5377" y="2055"/>
                </a:cubicBezTo>
                <a:cubicBezTo>
                  <a:pt x="5375" y="2055"/>
                  <a:pt x="5373" y="2055"/>
                  <a:pt x="5370" y="2055"/>
                </a:cubicBezTo>
                <a:close/>
                <a:moveTo>
                  <a:pt x="5377" y="2055"/>
                </a:moveTo>
                <a:cubicBezTo>
                  <a:pt x="5380" y="2055"/>
                  <a:pt x="5382" y="2055"/>
                  <a:pt x="5384" y="2055"/>
                </a:cubicBezTo>
                <a:cubicBezTo>
                  <a:pt x="5382" y="2055"/>
                  <a:pt x="5380" y="2055"/>
                  <a:pt x="5377" y="2055"/>
                </a:cubicBezTo>
                <a:close/>
                <a:moveTo>
                  <a:pt x="5385" y="2055"/>
                </a:moveTo>
                <a:cubicBezTo>
                  <a:pt x="5388" y="2055"/>
                  <a:pt x="5390" y="2055"/>
                  <a:pt x="5392" y="2055"/>
                </a:cubicBezTo>
                <a:cubicBezTo>
                  <a:pt x="5390" y="2055"/>
                  <a:pt x="5388" y="2055"/>
                  <a:pt x="5385" y="2055"/>
                </a:cubicBezTo>
                <a:close/>
                <a:moveTo>
                  <a:pt x="5392" y="2055"/>
                </a:moveTo>
                <a:lnTo>
                  <a:pt x="5299" y="2599"/>
                </a:lnTo>
                <a:lnTo>
                  <a:pt x="7010" y="1882"/>
                </a:lnTo>
                <a:cubicBezTo>
                  <a:pt x="7007" y="1870"/>
                  <a:pt x="7005" y="1857"/>
                  <a:pt x="7005" y="1844"/>
                </a:cubicBezTo>
                <a:cubicBezTo>
                  <a:pt x="7005" y="1794"/>
                  <a:pt x="7030" y="1751"/>
                  <a:pt x="7069" y="1725"/>
                </a:cubicBezTo>
                <a:lnTo>
                  <a:pt x="6856" y="1287"/>
                </a:lnTo>
                <a:cubicBezTo>
                  <a:pt x="6841" y="1292"/>
                  <a:pt x="6826" y="1294"/>
                  <a:pt x="6810" y="1294"/>
                </a:cubicBezTo>
                <a:cubicBezTo>
                  <a:pt x="6751" y="1294"/>
                  <a:pt x="6701" y="1259"/>
                  <a:pt x="6679" y="1208"/>
                </a:cubicBezTo>
                <a:lnTo>
                  <a:pt x="5960" y="1417"/>
                </a:lnTo>
                <a:cubicBezTo>
                  <a:pt x="5960" y="1415"/>
                  <a:pt x="5959" y="1413"/>
                  <a:pt x="5959" y="1411"/>
                </a:cubicBezTo>
                <a:cubicBezTo>
                  <a:pt x="5961" y="1430"/>
                  <a:pt x="5962" y="1450"/>
                  <a:pt x="5962" y="1470"/>
                </a:cubicBezTo>
                <a:cubicBezTo>
                  <a:pt x="5962" y="1631"/>
                  <a:pt x="5897" y="1778"/>
                  <a:pt x="5791" y="1883"/>
                </a:cubicBezTo>
                <a:cubicBezTo>
                  <a:pt x="5688" y="1986"/>
                  <a:pt x="5548" y="2051"/>
                  <a:pt x="5392" y="2055"/>
                </a:cubicBezTo>
                <a:close/>
                <a:moveTo>
                  <a:pt x="5959" y="1409"/>
                </a:moveTo>
                <a:cubicBezTo>
                  <a:pt x="5959" y="1407"/>
                  <a:pt x="5959" y="1405"/>
                  <a:pt x="5958" y="1403"/>
                </a:cubicBezTo>
                <a:cubicBezTo>
                  <a:pt x="5959" y="1405"/>
                  <a:pt x="5959" y="1407"/>
                  <a:pt x="5959" y="1409"/>
                </a:cubicBezTo>
                <a:close/>
                <a:moveTo>
                  <a:pt x="5958" y="1402"/>
                </a:moveTo>
                <a:cubicBezTo>
                  <a:pt x="5958" y="1400"/>
                  <a:pt x="5958" y="1398"/>
                  <a:pt x="5958" y="1396"/>
                </a:cubicBezTo>
                <a:cubicBezTo>
                  <a:pt x="5958" y="1398"/>
                  <a:pt x="5958" y="1400"/>
                  <a:pt x="5958" y="1402"/>
                </a:cubicBezTo>
                <a:close/>
                <a:moveTo>
                  <a:pt x="5957" y="1395"/>
                </a:moveTo>
                <a:cubicBezTo>
                  <a:pt x="5957" y="1393"/>
                  <a:pt x="5957" y="1390"/>
                  <a:pt x="5957" y="1388"/>
                </a:cubicBezTo>
                <a:cubicBezTo>
                  <a:pt x="5957" y="1390"/>
                  <a:pt x="5957" y="1393"/>
                  <a:pt x="5957" y="1395"/>
                </a:cubicBezTo>
                <a:close/>
                <a:moveTo>
                  <a:pt x="5956" y="1388"/>
                </a:moveTo>
                <a:cubicBezTo>
                  <a:pt x="5956" y="1386"/>
                  <a:pt x="5956" y="1384"/>
                  <a:pt x="5956" y="1382"/>
                </a:cubicBezTo>
                <a:cubicBezTo>
                  <a:pt x="5956" y="1384"/>
                  <a:pt x="5956" y="1386"/>
                  <a:pt x="5956" y="1388"/>
                </a:cubicBezTo>
                <a:close/>
                <a:moveTo>
                  <a:pt x="5741" y="1106"/>
                </a:moveTo>
                <a:cubicBezTo>
                  <a:pt x="5648" y="1013"/>
                  <a:pt x="5519" y="955"/>
                  <a:pt x="5377" y="955"/>
                </a:cubicBezTo>
                <a:cubicBezTo>
                  <a:pt x="5235" y="955"/>
                  <a:pt x="5107" y="1013"/>
                  <a:pt x="5014" y="1106"/>
                </a:cubicBezTo>
                <a:cubicBezTo>
                  <a:pt x="4920" y="1199"/>
                  <a:pt x="4863" y="1328"/>
                  <a:pt x="4863" y="1470"/>
                </a:cubicBezTo>
                <a:cubicBezTo>
                  <a:pt x="4863" y="1612"/>
                  <a:pt x="4920" y="1741"/>
                  <a:pt x="5014" y="1834"/>
                </a:cubicBezTo>
                <a:cubicBezTo>
                  <a:pt x="5107" y="1927"/>
                  <a:pt x="5235" y="1984"/>
                  <a:pt x="5377" y="1984"/>
                </a:cubicBezTo>
                <a:cubicBezTo>
                  <a:pt x="5519" y="1984"/>
                  <a:pt x="5648" y="1927"/>
                  <a:pt x="5741" y="1834"/>
                </a:cubicBezTo>
                <a:cubicBezTo>
                  <a:pt x="5834" y="1741"/>
                  <a:pt x="5892" y="1612"/>
                  <a:pt x="5892" y="1470"/>
                </a:cubicBezTo>
                <a:cubicBezTo>
                  <a:pt x="5892" y="1328"/>
                  <a:pt x="5834" y="1199"/>
                  <a:pt x="5741" y="1106"/>
                </a:cubicBezTo>
                <a:close/>
                <a:moveTo>
                  <a:pt x="4205" y="407"/>
                </a:moveTo>
                <a:lnTo>
                  <a:pt x="4204" y="601"/>
                </a:lnTo>
                <a:lnTo>
                  <a:pt x="4132" y="610"/>
                </a:lnTo>
                <a:lnTo>
                  <a:pt x="4133" y="407"/>
                </a:lnTo>
                <a:lnTo>
                  <a:pt x="4205" y="407"/>
                </a:lnTo>
                <a:close/>
                <a:moveTo>
                  <a:pt x="4581" y="552"/>
                </a:moveTo>
                <a:lnTo>
                  <a:pt x="4499" y="563"/>
                </a:lnTo>
                <a:lnTo>
                  <a:pt x="4499" y="409"/>
                </a:lnTo>
                <a:lnTo>
                  <a:pt x="4581" y="409"/>
                </a:lnTo>
                <a:lnTo>
                  <a:pt x="4581" y="552"/>
                </a:lnTo>
                <a:close/>
                <a:moveTo>
                  <a:pt x="4372" y="408"/>
                </a:moveTo>
                <a:lnTo>
                  <a:pt x="4459" y="408"/>
                </a:lnTo>
                <a:lnTo>
                  <a:pt x="4458" y="568"/>
                </a:lnTo>
                <a:lnTo>
                  <a:pt x="4371" y="579"/>
                </a:lnTo>
                <a:lnTo>
                  <a:pt x="4372" y="408"/>
                </a:lnTo>
                <a:close/>
                <a:moveTo>
                  <a:pt x="4331" y="585"/>
                </a:moveTo>
                <a:lnTo>
                  <a:pt x="4244" y="596"/>
                </a:lnTo>
                <a:lnTo>
                  <a:pt x="4245" y="408"/>
                </a:lnTo>
                <a:lnTo>
                  <a:pt x="4332" y="408"/>
                </a:lnTo>
                <a:lnTo>
                  <a:pt x="4331" y="585"/>
                </a:lnTo>
                <a:close/>
                <a:moveTo>
                  <a:pt x="4629" y="687"/>
                </a:moveTo>
                <a:lnTo>
                  <a:pt x="4132" y="685"/>
                </a:lnTo>
                <a:lnTo>
                  <a:pt x="4132" y="661"/>
                </a:lnTo>
                <a:lnTo>
                  <a:pt x="4589" y="602"/>
                </a:lnTo>
                <a:cubicBezTo>
                  <a:pt x="4613" y="598"/>
                  <a:pt x="4630" y="579"/>
                  <a:pt x="4631" y="555"/>
                </a:cubicBezTo>
                <a:lnTo>
                  <a:pt x="4631" y="404"/>
                </a:lnTo>
                <a:cubicBezTo>
                  <a:pt x="4631" y="379"/>
                  <a:pt x="4611" y="359"/>
                  <a:pt x="4586" y="359"/>
                </a:cubicBezTo>
                <a:lnTo>
                  <a:pt x="4133" y="357"/>
                </a:lnTo>
                <a:lnTo>
                  <a:pt x="4134" y="322"/>
                </a:lnTo>
                <a:cubicBezTo>
                  <a:pt x="4134" y="291"/>
                  <a:pt x="4109" y="267"/>
                  <a:pt x="4078" y="267"/>
                </a:cubicBezTo>
                <a:lnTo>
                  <a:pt x="3990" y="266"/>
                </a:lnTo>
                <a:cubicBezTo>
                  <a:pt x="3970" y="266"/>
                  <a:pt x="3955" y="282"/>
                  <a:pt x="3955" y="301"/>
                </a:cubicBezTo>
                <a:cubicBezTo>
                  <a:pt x="3955" y="321"/>
                  <a:pt x="3970" y="337"/>
                  <a:pt x="3990" y="337"/>
                </a:cubicBezTo>
                <a:lnTo>
                  <a:pt x="4063" y="337"/>
                </a:lnTo>
                <a:lnTo>
                  <a:pt x="4061" y="700"/>
                </a:lnTo>
                <a:cubicBezTo>
                  <a:pt x="4061" y="731"/>
                  <a:pt x="4086" y="756"/>
                  <a:pt x="4117" y="756"/>
                </a:cubicBezTo>
                <a:lnTo>
                  <a:pt x="4629" y="758"/>
                </a:lnTo>
                <a:cubicBezTo>
                  <a:pt x="4648" y="758"/>
                  <a:pt x="4664" y="742"/>
                  <a:pt x="4664" y="723"/>
                </a:cubicBezTo>
                <a:cubicBezTo>
                  <a:pt x="4664" y="703"/>
                  <a:pt x="4648" y="687"/>
                  <a:pt x="4629" y="687"/>
                </a:cubicBezTo>
                <a:close/>
                <a:moveTo>
                  <a:pt x="4222" y="763"/>
                </a:moveTo>
                <a:cubicBezTo>
                  <a:pt x="4183" y="763"/>
                  <a:pt x="4152" y="794"/>
                  <a:pt x="4152" y="833"/>
                </a:cubicBezTo>
                <a:cubicBezTo>
                  <a:pt x="4152" y="871"/>
                  <a:pt x="4183" y="902"/>
                  <a:pt x="4221" y="903"/>
                </a:cubicBezTo>
                <a:cubicBezTo>
                  <a:pt x="4260" y="903"/>
                  <a:pt x="4291" y="872"/>
                  <a:pt x="4291" y="833"/>
                </a:cubicBezTo>
                <a:cubicBezTo>
                  <a:pt x="4291" y="795"/>
                  <a:pt x="4260" y="763"/>
                  <a:pt x="4222" y="763"/>
                </a:cubicBezTo>
                <a:close/>
                <a:moveTo>
                  <a:pt x="4558" y="764"/>
                </a:moveTo>
                <a:cubicBezTo>
                  <a:pt x="4520" y="764"/>
                  <a:pt x="4488" y="795"/>
                  <a:pt x="4488" y="834"/>
                </a:cubicBezTo>
                <a:cubicBezTo>
                  <a:pt x="4488" y="872"/>
                  <a:pt x="4519" y="904"/>
                  <a:pt x="4557" y="904"/>
                </a:cubicBezTo>
                <a:cubicBezTo>
                  <a:pt x="4596" y="904"/>
                  <a:pt x="4627" y="873"/>
                  <a:pt x="4627" y="835"/>
                </a:cubicBezTo>
                <a:cubicBezTo>
                  <a:pt x="4628" y="796"/>
                  <a:pt x="4597" y="765"/>
                  <a:pt x="4558" y="764"/>
                </a:cubicBezTo>
                <a:close/>
                <a:moveTo>
                  <a:pt x="3780" y="834"/>
                </a:moveTo>
                <a:lnTo>
                  <a:pt x="3086" y="951"/>
                </a:lnTo>
                <a:cubicBezTo>
                  <a:pt x="3086" y="953"/>
                  <a:pt x="3086" y="955"/>
                  <a:pt x="3086" y="957"/>
                </a:cubicBezTo>
                <a:cubicBezTo>
                  <a:pt x="3086" y="1002"/>
                  <a:pt x="3065" y="1042"/>
                  <a:pt x="3033" y="1068"/>
                </a:cubicBezTo>
                <a:lnTo>
                  <a:pt x="3115" y="1201"/>
                </a:lnTo>
                <a:cubicBezTo>
                  <a:pt x="3133" y="1193"/>
                  <a:pt x="3153" y="1188"/>
                  <a:pt x="3174" y="1188"/>
                </a:cubicBezTo>
                <a:cubicBezTo>
                  <a:pt x="3253" y="1188"/>
                  <a:pt x="3316" y="1251"/>
                  <a:pt x="3316" y="1330"/>
                </a:cubicBezTo>
                <a:cubicBezTo>
                  <a:pt x="3316" y="1377"/>
                  <a:pt x="3294" y="1418"/>
                  <a:pt x="3259" y="1444"/>
                </a:cubicBezTo>
                <a:lnTo>
                  <a:pt x="3790" y="2386"/>
                </a:lnTo>
                <a:lnTo>
                  <a:pt x="4157" y="1694"/>
                </a:lnTo>
                <a:cubicBezTo>
                  <a:pt x="4120" y="1669"/>
                  <a:pt x="4097" y="1626"/>
                  <a:pt x="4097" y="1578"/>
                </a:cubicBezTo>
                <a:cubicBezTo>
                  <a:pt x="4097" y="1502"/>
                  <a:pt x="4157" y="1439"/>
                  <a:pt x="4233" y="1436"/>
                </a:cubicBezTo>
                <a:lnTo>
                  <a:pt x="4255" y="1167"/>
                </a:lnTo>
                <a:cubicBezTo>
                  <a:pt x="4115" y="1155"/>
                  <a:pt x="3990" y="1092"/>
                  <a:pt x="3896" y="999"/>
                </a:cubicBezTo>
                <a:cubicBezTo>
                  <a:pt x="3848" y="951"/>
                  <a:pt x="3809" y="896"/>
                  <a:pt x="3780" y="834"/>
                </a:cubicBezTo>
                <a:close/>
                <a:moveTo>
                  <a:pt x="4673" y="221"/>
                </a:moveTo>
                <a:cubicBezTo>
                  <a:pt x="4580" y="128"/>
                  <a:pt x="4451" y="71"/>
                  <a:pt x="4309" y="71"/>
                </a:cubicBezTo>
                <a:cubicBezTo>
                  <a:pt x="4167" y="71"/>
                  <a:pt x="4039" y="128"/>
                  <a:pt x="3946" y="221"/>
                </a:cubicBezTo>
                <a:cubicBezTo>
                  <a:pt x="3853" y="314"/>
                  <a:pt x="3795" y="443"/>
                  <a:pt x="3795" y="585"/>
                </a:cubicBezTo>
                <a:cubicBezTo>
                  <a:pt x="3795" y="727"/>
                  <a:pt x="3853" y="856"/>
                  <a:pt x="3946" y="949"/>
                </a:cubicBezTo>
                <a:cubicBezTo>
                  <a:pt x="4039" y="1042"/>
                  <a:pt x="4167" y="1099"/>
                  <a:pt x="4309" y="1099"/>
                </a:cubicBezTo>
                <a:cubicBezTo>
                  <a:pt x="4451" y="1099"/>
                  <a:pt x="4580" y="1042"/>
                  <a:pt x="4673" y="949"/>
                </a:cubicBezTo>
                <a:cubicBezTo>
                  <a:pt x="4766" y="856"/>
                  <a:pt x="4824" y="727"/>
                  <a:pt x="4824" y="585"/>
                </a:cubicBezTo>
                <a:cubicBezTo>
                  <a:pt x="4824" y="443"/>
                  <a:pt x="4766" y="314"/>
                  <a:pt x="4673" y="221"/>
                </a:cubicBezTo>
                <a:close/>
                <a:moveTo>
                  <a:pt x="1564" y="2349"/>
                </a:moveTo>
                <a:lnTo>
                  <a:pt x="1776" y="2485"/>
                </a:lnTo>
                <a:lnTo>
                  <a:pt x="2186" y="1978"/>
                </a:lnTo>
                <a:cubicBezTo>
                  <a:pt x="2161" y="1952"/>
                  <a:pt x="2146" y="1918"/>
                  <a:pt x="2146" y="1880"/>
                </a:cubicBezTo>
                <a:cubicBezTo>
                  <a:pt x="2146" y="1839"/>
                  <a:pt x="2163" y="1802"/>
                  <a:pt x="2191" y="1776"/>
                </a:cubicBezTo>
                <a:lnTo>
                  <a:pt x="1984" y="1490"/>
                </a:lnTo>
                <a:cubicBezTo>
                  <a:pt x="1963" y="1501"/>
                  <a:pt x="1940" y="1507"/>
                  <a:pt x="1915" y="1507"/>
                </a:cubicBezTo>
                <a:cubicBezTo>
                  <a:pt x="1865" y="1507"/>
                  <a:pt x="1822" y="1481"/>
                  <a:pt x="1796" y="1443"/>
                </a:cubicBezTo>
                <a:lnTo>
                  <a:pt x="1429" y="1621"/>
                </a:lnTo>
                <a:cubicBezTo>
                  <a:pt x="1434" y="1635"/>
                  <a:pt x="1437" y="1651"/>
                  <a:pt x="1437" y="1667"/>
                </a:cubicBezTo>
                <a:cubicBezTo>
                  <a:pt x="1437" y="1728"/>
                  <a:pt x="1398" y="1780"/>
                  <a:pt x="1343" y="1800"/>
                </a:cubicBezTo>
                <a:lnTo>
                  <a:pt x="1422" y="2146"/>
                </a:lnTo>
                <a:cubicBezTo>
                  <a:pt x="1427" y="2146"/>
                  <a:pt x="1432" y="2146"/>
                  <a:pt x="1437" y="2146"/>
                </a:cubicBezTo>
                <a:cubicBezTo>
                  <a:pt x="1515" y="2146"/>
                  <a:pt x="1578" y="2209"/>
                  <a:pt x="1578" y="2287"/>
                </a:cubicBezTo>
                <a:cubicBezTo>
                  <a:pt x="1578" y="2309"/>
                  <a:pt x="1573" y="2330"/>
                  <a:pt x="1564" y="2349"/>
                </a:cubicBezTo>
                <a:close/>
                <a:moveTo>
                  <a:pt x="1806" y="2504"/>
                </a:moveTo>
                <a:lnTo>
                  <a:pt x="2302" y="2823"/>
                </a:lnTo>
                <a:lnTo>
                  <a:pt x="2275" y="2021"/>
                </a:lnTo>
                <a:cubicBezTo>
                  <a:pt x="2252" y="2019"/>
                  <a:pt x="2231" y="2011"/>
                  <a:pt x="2213" y="2000"/>
                </a:cubicBezTo>
                <a:lnTo>
                  <a:pt x="1806" y="2504"/>
                </a:lnTo>
                <a:close/>
                <a:moveTo>
                  <a:pt x="6805" y="9677"/>
                </a:moveTo>
                <a:lnTo>
                  <a:pt x="7377" y="9625"/>
                </a:lnTo>
                <a:cubicBezTo>
                  <a:pt x="7378" y="9613"/>
                  <a:pt x="7379" y="9602"/>
                  <a:pt x="7382" y="9592"/>
                </a:cubicBezTo>
                <a:lnTo>
                  <a:pt x="6842" y="9371"/>
                </a:lnTo>
                <a:lnTo>
                  <a:pt x="6805" y="9677"/>
                </a:lnTo>
                <a:close/>
                <a:moveTo>
                  <a:pt x="6891" y="8675"/>
                </a:moveTo>
                <a:lnTo>
                  <a:pt x="4927" y="8539"/>
                </a:lnTo>
                <a:cubicBezTo>
                  <a:pt x="4927" y="8542"/>
                  <a:pt x="4926" y="8546"/>
                  <a:pt x="4925" y="8549"/>
                </a:cubicBezTo>
                <a:lnTo>
                  <a:pt x="6813" y="9321"/>
                </a:lnTo>
                <a:lnTo>
                  <a:pt x="6891" y="8675"/>
                </a:lnTo>
                <a:close/>
                <a:moveTo>
                  <a:pt x="7381" y="9659"/>
                </a:moveTo>
                <a:lnTo>
                  <a:pt x="6801" y="9713"/>
                </a:lnTo>
                <a:lnTo>
                  <a:pt x="6744" y="10191"/>
                </a:lnTo>
                <a:lnTo>
                  <a:pt x="7317" y="10519"/>
                </a:lnTo>
                <a:cubicBezTo>
                  <a:pt x="7342" y="10486"/>
                  <a:pt x="7381" y="10464"/>
                  <a:pt x="7426" y="10463"/>
                </a:cubicBezTo>
                <a:lnTo>
                  <a:pt x="7489" y="9768"/>
                </a:lnTo>
                <a:cubicBezTo>
                  <a:pt x="7435" y="9756"/>
                  <a:pt x="7392" y="9713"/>
                  <a:pt x="7381" y="9659"/>
                </a:cubicBezTo>
                <a:close/>
              </a:path>
            </a:pathLst>
          </a:custGeom>
          <a:gradFill>
            <a:gsLst>
              <a:gs pos="0">
                <a:schemeClr val="accent2">
                  <a:lumMod val="20000"/>
                  <a:lumOff val="80000"/>
                  <a:alpha val="48000"/>
                </a:schemeClr>
              </a:gs>
              <a:gs pos="100000">
                <a:schemeClr val="accent2">
                  <a:lumMod val="20000"/>
                  <a:lumOff val="80000"/>
                  <a:alpha val="28000"/>
                </a:schemeClr>
              </a:gs>
            </a:gsLst>
            <a:lin ang="5400000" scaled="1"/>
          </a:gradFill>
          <a:ln>
            <a:solidFill>
              <a:schemeClr val="bg2">
                <a:lumMod val="95000"/>
              </a:schemeClr>
            </a:solidFill>
          </a:ln>
        </p:spPr>
        <p:txBody>
          <a:bodyPr vert="horz" wrap="square" lIns="69739" tIns="34872" rIns="69739" bIns="348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4767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4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42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20" y="4903687"/>
            <a:ext cx="9144000" cy="256478"/>
            <a:chOff x="1833416" y="3320291"/>
            <a:chExt cx="10260013" cy="954054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504" y="176148"/>
            <a:ext cx="8794113" cy="28262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39" y="5000324"/>
            <a:ext cx="123432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pt-BR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22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2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6632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4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42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47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02" t="1631" r="802" b="1822"/>
          <a:stretch/>
        </p:blipFill>
        <p:spPr>
          <a:xfrm>
            <a:off x="1" y="0"/>
            <a:ext cx="9164291" cy="4903662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20" y="4903687"/>
            <a:ext cx="9144000" cy="256478"/>
            <a:chOff x="1833416" y="3320291"/>
            <a:chExt cx="10260013" cy="954054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504" y="176148"/>
            <a:ext cx="8794113" cy="28262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39" y="5000324"/>
            <a:ext cx="123432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pt-BR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22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2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1530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4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42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" y="1"/>
            <a:ext cx="9143838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504" y="176148"/>
            <a:ext cx="8794113" cy="282626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39" y="4981298"/>
            <a:ext cx="123432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pt-BR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22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2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35079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41" y="1241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41" y="1241"/>
                        <a:ext cx="1214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504" y="176148"/>
            <a:ext cx="8794113" cy="28262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102467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4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42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009" y="1"/>
            <a:ext cx="6854991" cy="5143499"/>
          </a:xfrm>
          <a:prstGeom prst="rect">
            <a:avLst/>
          </a:prstGeom>
        </p:spPr>
      </p:pic>
      <p:sp>
        <p:nvSpPr>
          <p:cNvPr id="16" name="Freeform 15"/>
          <p:cNvSpPr/>
          <p:nvPr/>
        </p:nvSpPr>
        <p:spPr>
          <a:xfrm>
            <a:off x="15" y="-6452"/>
            <a:ext cx="5829479" cy="5149962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rgbClr val="1A5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739" tIns="34872" rIns="69739" bIns="34872" rtlCol="0" anchor="ctr"/>
          <a:lstStyle/>
          <a:p>
            <a:pPr marL="0" marR="0" lvl="0" indent="0" algn="ctr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3361686" y="-6456"/>
            <a:ext cx="2312297" cy="4000751"/>
          </a:xfrm>
          <a:prstGeom prst="line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5943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endParaRPr kumimoji="0" lang="x-none" sz="82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63865" y="177454"/>
            <a:ext cx="4179587" cy="93266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375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63890" y="2609993"/>
            <a:ext cx="2778892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30"/>
              </a:spcAft>
              <a:defRPr lang="x-none" sz="105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75926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04961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93"/>
            <a:ext cx="9144000" cy="5142113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114803" y="4811439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1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114803" y="4905646"/>
            <a:ext cx="302919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1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28/09/2017 18:45 E. South America Standard Time</a:t>
            </a:r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114803" y="4999855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1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18/09/2017 16:26 E. South America Standard Time</a:t>
            </a:r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4919604" y="1097667"/>
            <a:ext cx="3753486" cy="37683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49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pt-BR" noProof="0" dirty="0"/>
              <a:t>Título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919604" y="2386825"/>
            <a:ext cx="3753486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pt-BR" noProof="0" dirty="0"/>
              <a:t>Tipo de documento | Data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5" y="2741311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71" b="0" i="0" u="none" strike="noStrike" kern="1200" cap="none" spc="0" normalizeH="0" baseline="0" noProof="0" dirty="0">
                <a:ln>
                  <a:noFill/>
                </a:ln>
                <a:solidFill>
                  <a:srgbClr val="4C91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po de documento | Data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615933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Disclaimer-Portuguese (Brasil)" hidden="1"/>
          <p:cNvSpPr>
            <a:spLocks noChangeArrowheads="1"/>
          </p:cNvSpPr>
          <p:nvPr userDrawn="1"/>
        </p:nvSpPr>
        <p:spPr bwMode="black">
          <a:xfrm>
            <a:off x="2314476" y="4811485"/>
            <a:ext cx="3616661" cy="282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61590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1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CIAL E DE PROPRIEDADE EXCLUSIVA</a:t>
            </a:r>
          </a:p>
          <a:p>
            <a:pPr marL="0" marR="0" lvl="0" indent="0" algn="l" defTabSz="61590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1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utilização deste material sem a permissão expressa
da McKinsey &amp; Company é estritamente proibida</a:t>
            </a:r>
          </a:p>
        </p:txBody>
      </p:sp>
    </p:spTree>
    <p:extLst>
      <p:ext uri="{BB962C8B-B14F-4D97-AF65-F5344CB8AC3E}">
        <p14:creationId xmlns:p14="http://schemas.microsoft.com/office/powerpoint/2010/main" val="16555837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2" y="4903663"/>
            <a:ext cx="9144000" cy="256478"/>
            <a:chOff x="1833416" y="3320291"/>
            <a:chExt cx="10260013" cy="954054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490" y="176148"/>
            <a:ext cx="8794113" cy="282626"/>
          </a:xfrm>
        </p:spPr>
        <p:txBody>
          <a:bodyPr/>
          <a:lstStyle>
            <a:lvl1pPr>
              <a:defRPr sz="1837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4999383"/>
            <a:ext cx="123432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pt-BR" sz="61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reeform 11"/>
          <p:cNvSpPr>
            <a:spLocks noEditPoints="1"/>
          </p:cNvSpPr>
          <p:nvPr userDrawn="1"/>
        </p:nvSpPr>
        <p:spPr bwMode="auto">
          <a:xfrm>
            <a:off x="143957" y="471730"/>
            <a:ext cx="4025232" cy="4314515"/>
          </a:xfrm>
          <a:custGeom>
            <a:avLst/>
            <a:gdLst>
              <a:gd name="T0" fmla="*/ 2288 w 11758"/>
              <a:gd name="T1" fmla="*/ 1738 h 12608"/>
              <a:gd name="T2" fmla="*/ 4792 w 11758"/>
              <a:gd name="T3" fmla="*/ 1470 h 12608"/>
              <a:gd name="T4" fmla="*/ 11587 w 11758"/>
              <a:gd name="T5" fmla="*/ 5324 h 12608"/>
              <a:gd name="T6" fmla="*/ 6904 w 11758"/>
              <a:gd name="T7" fmla="*/ 11609 h 12608"/>
              <a:gd name="T8" fmla="*/ 4154 w 11758"/>
              <a:gd name="T9" fmla="*/ 7173 h 12608"/>
              <a:gd name="T10" fmla="*/ 6181 w 11758"/>
              <a:gd name="T11" fmla="*/ 11902 h 12608"/>
              <a:gd name="T12" fmla="*/ 6865 w 11758"/>
              <a:gd name="T13" fmla="*/ 12180 h 12608"/>
              <a:gd name="T14" fmla="*/ 6490 w 11758"/>
              <a:gd name="T15" fmla="*/ 11438 h 12608"/>
              <a:gd name="T16" fmla="*/ 9142 w 11758"/>
              <a:gd name="T17" fmla="*/ 9015 h 12608"/>
              <a:gd name="T18" fmla="*/ 8369 w 11758"/>
              <a:gd name="T19" fmla="*/ 7046 h 12608"/>
              <a:gd name="T20" fmla="*/ 9088 w 11758"/>
              <a:gd name="T21" fmla="*/ 8500 h 12608"/>
              <a:gd name="T22" fmla="*/ 6497 w 11758"/>
              <a:gd name="T23" fmla="*/ 9718 h 12608"/>
              <a:gd name="T24" fmla="*/ 6287 w 11758"/>
              <a:gd name="T25" fmla="*/ 9840 h 12608"/>
              <a:gd name="T26" fmla="*/ 6568 w 11758"/>
              <a:gd name="T27" fmla="*/ 9699 h 12608"/>
              <a:gd name="T28" fmla="*/ 4929 w 11758"/>
              <a:gd name="T29" fmla="*/ 6963 h 12608"/>
              <a:gd name="T30" fmla="*/ 4827 w 11758"/>
              <a:gd name="T31" fmla="*/ 7042 h 12608"/>
              <a:gd name="T32" fmla="*/ 6491 w 11758"/>
              <a:gd name="T33" fmla="*/ 7005 h 12608"/>
              <a:gd name="T34" fmla="*/ 7761 w 11758"/>
              <a:gd name="T35" fmla="*/ 4928 h 12608"/>
              <a:gd name="T36" fmla="*/ 4557 w 11758"/>
              <a:gd name="T37" fmla="*/ 4787 h 12608"/>
              <a:gd name="T38" fmla="*/ 4931 w 11758"/>
              <a:gd name="T39" fmla="*/ 6395 h 12608"/>
              <a:gd name="T40" fmla="*/ 6770 w 11758"/>
              <a:gd name="T41" fmla="*/ 7378 h 12608"/>
              <a:gd name="T42" fmla="*/ 6603 w 11758"/>
              <a:gd name="T43" fmla="*/ 6950 h 12608"/>
              <a:gd name="T44" fmla="*/ 8559 w 11758"/>
              <a:gd name="T45" fmla="*/ 6271 h 12608"/>
              <a:gd name="T46" fmla="*/ 8590 w 11758"/>
              <a:gd name="T47" fmla="*/ 6713 h 12608"/>
              <a:gd name="T48" fmla="*/ 8783 w 11758"/>
              <a:gd name="T49" fmla="*/ 6047 h 12608"/>
              <a:gd name="T50" fmla="*/ 11297 w 11758"/>
              <a:gd name="T51" fmla="*/ 5129 h 12608"/>
              <a:gd name="T52" fmla="*/ 11413 w 11758"/>
              <a:gd name="T53" fmla="*/ 5071 h 12608"/>
              <a:gd name="T54" fmla="*/ 11137 w 11758"/>
              <a:gd name="T55" fmla="*/ 4634 h 12608"/>
              <a:gd name="T56" fmla="*/ 10809 w 11758"/>
              <a:gd name="T57" fmla="*/ 4547 h 12608"/>
              <a:gd name="T58" fmla="*/ 8582 w 11758"/>
              <a:gd name="T59" fmla="*/ 5102 h 12608"/>
              <a:gd name="T60" fmla="*/ 8205 w 11758"/>
              <a:gd name="T61" fmla="*/ 5155 h 12608"/>
              <a:gd name="T62" fmla="*/ 8043 w 11758"/>
              <a:gd name="T63" fmla="*/ 4835 h 12608"/>
              <a:gd name="T64" fmla="*/ 7416 w 11758"/>
              <a:gd name="T65" fmla="*/ 5997 h 12608"/>
              <a:gd name="T66" fmla="*/ 1406 w 11758"/>
              <a:gd name="T67" fmla="*/ 4840 h 12608"/>
              <a:gd name="T68" fmla="*/ 975 w 11758"/>
              <a:gd name="T69" fmla="*/ 5151 h 12608"/>
              <a:gd name="T70" fmla="*/ 2306 w 11758"/>
              <a:gd name="T71" fmla="*/ 4943 h 12608"/>
              <a:gd name="T72" fmla="*/ 4796 w 11758"/>
              <a:gd name="T73" fmla="*/ 4170 h 12608"/>
              <a:gd name="T74" fmla="*/ 5234 w 11758"/>
              <a:gd name="T75" fmla="*/ 4273 h 12608"/>
              <a:gd name="T76" fmla="*/ 4633 w 11758"/>
              <a:gd name="T77" fmla="*/ 4493 h 12608"/>
              <a:gd name="T78" fmla="*/ 5542 w 11758"/>
              <a:gd name="T79" fmla="*/ 4247 h 12608"/>
              <a:gd name="T80" fmla="*/ 5334 w 11758"/>
              <a:gd name="T81" fmla="*/ 4009 h 12608"/>
              <a:gd name="T82" fmla="*/ 1009 w 11758"/>
              <a:gd name="T83" fmla="*/ 2861 h 12608"/>
              <a:gd name="T84" fmla="*/ 1331 w 11758"/>
              <a:gd name="T85" fmla="*/ 3239 h 12608"/>
              <a:gd name="T86" fmla="*/ 2372 w 11758"/>
              <a:gd name="T87" fmla="*/ 4914 h 12608"/>
              <a:gd name="T88" fmla="*/ 1736 w 11758"/>
              <a:gd name="T89" fmla="*/ 3135 h 12608"/>
              <a:gd name="T90" fmla="*/ 3367 w 11758"/>
              <a:gd name="T91" fmla="*/ 3461 h 12608"/>
              <a:gd name="T92" fmla="*/ 2863 w 11758"/>
              <a:gd name="T93" fmla="*/ 3410 h 12608"/>
              <a:gd name="T94" fmla="*/ 3318 w 11758"/>
              <a:gd name="T95" fmla="*/ 2906 h 12608"/>
              <a:gd name="T96" fmla="*/ 2814 w 11758"/>
              <a:gd name="T97" fmla="*/ 3194 h 12608"/>
              <a:gd name="T98" fmla="*/ 7467 w 11758"/>
              <a:gd name="T99" fmla="*/ 2889 h 12608"/>
              <a:gd name="T100" fmla="*/ 7799 w 11758"/>
              <a:gd name="T101" fmla="*/ 3487 h 12608"/>
              <a:gd name="T102" fmla="*/ 7401 w 11758"/>
              <a:gd name="T103" fmla="*/ 3569 h 12608"/>
              <a:gd name="T104" fmla="*/ 7986 w 11758"/>
              <a:gd name="T105" fmla="*/ 3749 h 12608"/>
              <a:gd name="T106" fmla="*/ 5146 w 11758"/>
              <a:gd name="T107" fmla="*/ 1685 h 12608"/>
              <a:gd name="T108" fmla="*/ 4964 w 11758"/>
              <a:gd name="T109" fmla="*/ 1883 h 12608"/>
              <a:gd name="T110" fmla="*/ 5960 w 11758"/>
              <a:gd name="T111" fmla="*/ 1417 h 12608"/>
              <a:gd name="T112" fmla="*/ 5377 w 11758"/>
              <a:gd name="T113" fmla="*/ 1984 h 12608"/>
              <a:gd name="T114" fmla="*/ 4332 w 11758"/>
              <a:gd name="T115" fmla="*/ 408 h 12608"/>
              <a:gd name="T116" fmla="*/ 4152 w 11758"/>
              <a:gd name="T117" fmla="*/ 833 h 12608"/>
              <a:gd name="T118" fmla="*/ 3896 w 11758"/>
              <a:gd name="T119" fmla="*/ 999 h 12608"/>
              <a:gd name="T120" fmla="*/ 1422 w 11758"/>
              <a:gd name="T121" fmla="*/ 2146 h 12608"/>
              <a:gd name="T122" fmla="*/ 7317 w 11758"/>
              <a:gd name="T123" fmla="*/ 10519 h 12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758" h="12608">
                <a:moveTo>
                  <a:pt x="142" y="3901"/>
                </a:moveTo>
                <a:cubicBezTo>
                  <a:pt x="181" y="3901"/>
                  <a:pt x="216" y="3917"/>
                  <a:pt x="242" y="3942"/>
                </a:cubicBezTo>
                <a:lnTo>
                  <a:pt x="779" y="3517"/>
                </a:lnTo>
                <a:cubicBezTo>
                  <a:pt x="690" y="3415"/>
                  <a:pt x="636" y="3281"/>
                  <a:pt x="636" y="3135"/>
                </a:cubicBezTo>
                <a:cubicBezTo>
                  <a:pt x="636" y="2973"/>
                  <a:pt x="702" y="2827"/>
                  <a:pt x="808" y="2721"/>
                </a:cubicBezTo>
                <a:cubicBezTo>
                  <a:pt x="913" y="2615"/>
                  <a:pt x="1060" y="2550"/>
                  <a:pt x="1221" y="2550"/>
                </a:cubicBezTo>
                <a:cubicBezTo>
                  <a:pt x="1268" y="2550"/>
                  <a:pt x="1314" y="2555"/>
                  <a:pt x="1357" y="2566"/>
                </a:cubicBezTo>
                <a:lnTo>
                  <a:pt x="1389" y="2421"/>
                </a:lnTo>
                <a:cubicBezTo>
                  <a:pt x="1334" y="2402"/>
                  <a:pt x="1295" y="2349"/>
                  <a:pt x="1295" y="2287"/>
                </a:cubicBezTo>
                <a:cubicBezTo>
                  <a:pt x="1295" y="2226"/>
                  <a:pt x="1334" y="2174"/>
                  <a:pt x="1388" y="2154"/>
                </a:cubicBezTo>
                <a:lnTo>
                  <a:pt x="1309" y="1808"/>
                </a:lnTo>
                <a:cubicBezTo>
                  <a:pt x="1304" y="1808"/>
                  <a:pt x="1299" y="1809"/>
                  <a:pt x="1295" y="1809"/>
                </a:cubicBezTo>
                <a:cubicBezTo>
                  <a:pt x="1216" y="1809"/>
                  <a:pt x="1153" y="1745"/>
                  <a:pt x="1153" y="1667"/>
                </a:cubicBezTo>
                <a:cubicBezTo>
                  <a:pt x="1153" y="1588"/>
                  <a:pt x="1216" y="1525"/>
                  <a:pt x="1295" y="1525"/>
                </a:cubicBezTo>
                <a:cubicBezTo>
                  <a:pt x="1344" y="1525"/>
                  <a:pt x="1388" y="1551"/>
                  <a:pt x="1414" y="1589"/>
                </a:cubicBezTo>
                <a:cubicBezTo>
                  <a:pt x="1536" y="1530"/>
                  <a:pt x="1659" y="1470"/>
                  <a:pt x="1781" y="1411"/>
                </a:cubicBezTo>
                <a:cubicBezTo>
                  <a:pt x="1776" y="1397"/>
                  <a:pt x="1773" y="1381"/>
                  <a:pt x="1773" y="1365"/>
                </a:cubicBezTo>
                <a:cubicBezTo>
                  <a:pt x="1773" y="1287"/>
                  <a:pt x="1837" y="1223"/>
                  <a:pt x="1915" y="1223"/>
                </a:cubicBezTo>
                <a:cubicBezTo>
                  <a:pt x="1994" y="1223"/>
                  <a:pt x="2057" y="1287"/>
                  <a:pt x="2057" y="1365"/>
                </a:cubicBezTo>
                <a:cubicBezTo>
                  <a:pt x="2057" y="1406"/>
                  <a:pt x="2040" y="1443"/>
                  <a:pt x="2012" y="1469"/>
                </a:cubicBezTo>
                <a:lnTo>
                  <a:pt x="2219" y="1755"/>
                </a:lnTo>
                <a:cubicBezTo>
                  <a:pt x="2240" y="1744"/>
                  <a:pt x="2263" y="1738"/>
                  <a:pt x="2288" y="1738"/>
                </a:cubicBezTo>
                <a:cubicBezTo>
                  <a:pt x="2332" y="1738"/>
                  <a:pt x="2372" y="1758"/>
                  <a:pt x="2398" y="1790"/>
                </a:cubicBezTo>
                <a:lnTo>
                  <a:pt x="3045" y="1389"/>
                </a:lnTo>
                <a:cubicBezTo>
                  <a:pt x="3037" y="1371"/>
                  <a:pt x="3033" y="1351"/>
                  <a:pt x="3033" y="1330"/>
                </a:cubicBezTo>
                <a:cubicBezTo>
                  <a:pt x="3033" y="1285"/>
                  <a:pt x="3053" y="1245"/>
                  <a:pt x="3085" y="1219"/>
                </a:cubicBezTo>
                <a:lnTo>
                  <a:pt x="3003" y="1086"/>
                </a:lnTo>
                <a:cubicBezTo>
                  <a:pt x="2985" y="1095"/>
                  <a:pt x="2965" y="1099"/>
                  <a:pt x="2944" y="1099"/>
                </a:cubicBezTo>
                <a:cubicBezTo>
                  <a:pt x="2866" y="1099"/>
                  <a:pt x="2802" y="1036"/>
                  <a:pt x="2802" y="957"/>
                </a:cubicBezTo>
                <a:cubicBezTo>
                  <a:pt x="2802" y="879"/>
                  <a:pt x="2866" y="816"/>
                  <a:pt x="2944" y="816"/>
                </a:cubicBezTo>
                <a:cubicBezTo>
                  <a:pt x="3008" y="816"/>
                  <a:pt x="3062" y="858"/>
                  <a:pt x="3080" y="917"/>
                </a:cubicBezTo>
                <a:lnTo>
                  <a:pt x="3766" y="801"/>
                </a:lnTo>
                <a:cubicBezTo>
                  <a:pt x="3739" y="734"/>
                  <a:pt x="3724" y="661"/>
                  <a:pt x="3724" y="585"/>
                </a:cubicBezTo>
                <a:cubicBezTo>
                  <a:pt x="3724" y="423"/>
                  <a:pt x="3790" y="277"/>
                  <a:pt x="3896" y="171"/>
                </a:cubicBezTo>
                <a:cubicBezTo>
                  <a:pt x="4002" y="66"/>
                  <a:pt x="4148" y="0"/>
                  <a:pt x="4309" y="0"/>
                </a:cubicBezTo>
                <a:cubicBezTo>
                  <a:pt x="4471" y="0"/>
                  <a:pt x="4617" y="66"/>
                  <a:pt x="4723" y="171"/>
                </a:cubicBezTo>
                <a:cubicBezTo>
                  <a:pt x="4829" y="277"/>
                  <a:pt x="4894" y="423"/>
                  <a:pt x="4894" y="585"/>
                </a:cubicBezTo>
                <a:cubicBezTo>
                  <a:pt x="4894" y="747"/>
                  <a:pt x="4829" y="893"/>
                  <a:pt x="4723" y="999"/>
                </a:cubicBezTo>
                <a:cubicBezTo>
                  <a:pt x="4617" y="1104"/>
                  <a:pt x="4471" y="1170"/>
                  <a:pt x="4309" y="1170"/>
                </a:cubicBezTo>
                <a:cubicBezTo>
                  <a:pt x="4303" y="1170"/>
                  <a:pt x="4297" y="1170"/>
                  <a:pt x="4290" y="1170"/>
                </a:cubicBezTo>
                <a:lnTo>
                  <a:pt x="4268" y="1439"/>
                </a:lnTo>
                <a:cubicBezTo>
                  <a:pt x="4325" y="1451"/>
                  <a:pt x="4370" y="1498"/>
                  <a:pt x="4379" y="1556"/>
                </a:cubicBezTo>
                <a:lnTo>
                  <a:pt x="4797" y="1544"/>
                </a:lnTo>
                <a:cubicBezTo>
                  <a:pt x="4794" y="1520"/>
                  <a:pt x="4792" y="1495"/>
                  <a:pt x="4792" y="1470"/>
                </a:cubicBezTo>
                <a:cubicBezTo>
                  <a:pt x="4792" y="1308"/>
                  <a:pt x="4858" y="1162"/>
                  <a:pt x="4964" y="1056"/>
                </a:cubicBezTo>
                <a:cubicBezTo>
                  <a:pt x="5070" y="950"/>
                  <a:pt x="5216" y="885"/>
                  <a:pt x="5377" y="885"/>
                </a:cubicBezTo>
                <a:cubicBezTo>
                  <a:pt x="5539" y="885"/>
                  <a:pt x="5685" y="950"/>
                  <a:pt x="5791" y="1056"/>
                </a:cubicBezTo>
                <a:cubicBezTo>
                  <a:pt x="5877" y="1142"/>
                  <a:pt x="5936" y="1255"/>
                  <a:pt x="5956" y="1381"/>
                </a:cubicBezTo>
                <a:lnTo>
                  <a:pt x="6670" y="1175"/>
                </a:lnTo>
                <a:cubicBezTo>
                  <a:pt x="6669" y="1167"/>
                  <a:pt x="6668" y="1160"/>
                  <a:pt x="6668" y="1152"/>
                </a:cubicBezTo>
                <a:cubicBezTo>
                  <a:pt x="6668" y="1074"/>
                  <a:pt x="6731" y="1011"/>
                  <a:pt x="6810" y="1011"/>
                </a:cubicBezTo>
                <a:cubicBezTo>
                  <a:pt x="6888" y="1011"/>
                  <a:pt x="6952" y="1074"/>
                  <a:pt x="6952" y="1152"/>
                </a:cubicBezTo>
                <a:cubicBezTo>
                  <a:pt x="6952" y="1202"/>
                  <a:pt x="6926" y="1246"/>
                  <a:pt x="6887" y="1271"/>
                </a:cubicBezTo>
                <a:lnTo>
                  <a:pt x="7101" y="1710"/>
                </a:lnTo>
                <a:cubicBezTo>
                  <a:pt x="7115" y="1705"/>
                  <a:pt x="7131" y="1702"/>
                  <a:pt x="7147" y="1702"/>
                </a:cubicBezTo>
                <a:cubicBezTo>
                  <a:pt x="7225" y="1702"/>
                  <a:pt x="7289" y="1766"/>
                  <a:pt x="7289" y="1844"/>
                </a:cubicBezTo>
                <a:cubicBezTo>
                  <a:pt x="7289" y="1858"/>
                  <a:pt x="7287" y="1871"/>
                  <a:pt x="7283" y="1883"/>
                </a:cubicBezTo>
                <a:lnTo>
                  <a:pt x="11280" y="3582"/>
                </a:lnTo>
                <a:cubicBezTo>
                  <a:pt x="11305" y="3539"/>
                  <a:pt x="11350" y="3511"/>
                  <a:pt x="11403" y="3511"/>
                </a:cubicBezTo>
                <a:cubicBezTo>
                  <a:pt x="11481" y="3511"/>
                  <a:pt x="11545" y="3575"/>
                  <a:pt x="11545" y="3653"/>
                </a:cubicBezTo>
                <a:cubicBezTo>
                  <a:pt x="11545" y="3731"/>
                  <a:pt x="11481" y="3795"/>
                  <a:pt x="11403" y="3795"/>
                </a:cubicBezTo>
                <a:cubicBezTo>
                  <a:pt x="11400" y="3795"/>
                  <a:pt x="11398" y="3795"/>
                  <a:pt x="11395" y="3795"/>
                </a:cubicBezTo>
                <a:lnTo>
                  <a:pt x="11298" y="4339"/>
                </a:lnTo>
                <a:cubicBezTo>
                  <a:pt x="11410" y="4363"/>
                  <a:pt x="11509" y="4419"/>
                  <a:pt x="11587" y="4497"/>
                </a:cubicBezTo>
                <a:cubicBezTo>
                  <a:pt x="11692" y="4603"/>
                  <a:pt x="11758" y="4749"/>
                  <a:pt x="11758" y="4910"/>
                </a:cubicBezTo>
                <a:cubicBezTo>
                  <a:pt x="11758" y="5072"/>
                  <a:pt x="11692" y="5218"/>
                  <a:pt x="11587" y="5324"/>
                </a:cubicBezTo>
                <a:cubicBezTo>
                  <a:pt x="11481" y="5430"/>
                  <a:pt x="11335" y="5495"/>
                  <a:pt x="11173" y="5495"/>
                </a:cubicBezTo>
                <a:cubicBezTo>
                  <a:pt x="11023" y="5495"/>
                  <a:pt x="10886" y="5439"/>
                  <a:pt x="10783" y="5346"/>
                </a:cubicBezTo>
                <a:lnTo>
                  <a:pt x="10364" y="5749"/>
                </a:lnTo>
                <a:cubicBezTo>
                  <a:pt x="10381" y="5773"/>
                  <a:pt x="10392" y="5802"/>
                  <a:pt x="10392" y="5834"/>
                </a:cubicBezTo>
                <a:cubicBezTo>
                  <a:pt x="10392" y="5912"/>
                  <a:pt x="10328" y="5976"/>
                  <a:pt x="10250" y="5976"/>
                </a:cubicBezTo>
                <a:cubicBezTo>
                  <a:pt x="10243" y="5976"/>
                  <a:pt x="10236" y="5975"/>
                  <a:pt x="10229" y="5974"/>
                </a:cubicBezTo>
                <a:lnTo>
                  <a:pt x="9584" y="8294"/>
                </a:lnTo>
                <a:cubicBezTo>
                  <a:pt x="9693" y="8319"/>
                  <a:pt x="9790" y="8374"/>
                  <a:pt x="9866" y="8450"/>
                </a:cubicBezTo>
                <a:cubicBezTo>
                  <a:pt x="9971" y="8556"/>
                  <a:pt x="10037" y="8702"/>
                  <a:pt x="10037" y="8864"/>
                </a:cubicBezTo>
                <a:cubicBezTo>
                  <a:pt x="10037" y="9026"/>
                  <a:pt x="9971" y="9172"/>
                  <a:pt x="9866" y="9278"/>
                </a:cubicBezTo>
                <a:cubicBezTo>
                  <a:pt x="9760" y="9383"/>
                  <a:pt x="9614" y="9449"/>
                  <a:pt x="9452" y="9449"/>
                </a:cubicBezTo>
                <a:cubicBezTo>
                  <a:pt x="9290" y="9449"/>
                  <a:pt x="9144" y="9383"/>
                  <a:pt x="9038" y="9278"/>
                </a:cubicBezTo>
                <a:cubicBezTo>
                  <a:pt x="8979" y="9218"/>
                  <a:pt x="8933" y="9146"/>
                  <a:pt x="8903" y="9066"/>
                </a:cubicBezTo>
                <a:lnTo>
                  <a:pt x="7656" y="9591"/>
                </a:lnTo>
                <a:cubicBezTo>
                  <a:pt x="7659" y="9603"/>
                  <a:pt x="7661" y="9616"/>
                  <a:pt x="7661" y="9629"/>
                </a:cubicBezTo>
                <a:cubicBezTo>
                  <a:pt x="7661" y="9706"/>
                  <a:pt x="7600" y="9768"/>
                  <a:pt x="7524" y="9771"/>
                </a:cubicBezTo>
                <a:lnTo>
                  <a:pt x="7461" y="10466"/>
                </a:lnTo>
                <a:cubicBezTo>
                  <a:pt x="7525" y="10480"/>
                  <a:pt x="7572" y="10536"/>
                  <a:pt x="7572" y="10604"/>
                </a:cubicBezTo>
                <a:cubicBezTo>
                  <a:pt x="7572" y="10683"/>
                  <a:pt x="7509" y="10746"/>
                  <a:pt x="7430" y="10746"/>
                </a:cubicBezTo>
                <a:cubicBezTo>
                  <a:pt x="7410" y="10746"/>
                  <a:pt x="7390" y="10742"/>
                  <a:pt x="7372" y="10734"/>
                </a:cubicBezTo>
                <a:lnTo>
                  <a:pt x="6862" y="11572"/>
                </a:lnTo>
                <a:cubicBezTo>
                  <a:pt x="6876" y="11583"/>
                  <a:pt x="6890" y="11596"/>
                  <a:pt x="6904" y="11609"/>
                </a:cubicBezTo>
                <a:cubicBezTo>
                  <a:pt x="7009" y="11715"/>
                  <a:pt x="7075" y="11861"/>
                  <a:pt x="7075" y="12023"/>
                </a:cubicBezTo>
                <a:cubicBezTo>
                  <a:pt x="7075" y="12184"/>
                  <a:pt x="7009" y="12331"/>
                  <a:pt x="6904" y="12436"/>
                </a:cubicBezTo>
                <a:cubicBezTo>
                  <a:pt x="6798" y="12542"/>
                  <a:pt x="6651" y="12608"/>
                  <a:pt x="6490" y="12608"/>
                </a:cubicBezTo>
                <a:cubicBezTo>
                  <a:pt x="6328" y="12608"/>
                  <a:pt x="6182" y="12542"/>
                  <a:pt x="6076" y="12436"/>
                </a:cubicBezTo>
                <a:cubicBezTo>
                  <a:pt x="5970" y="12331"/>
                  <a:pt x="5905" y="12184"/>
                  <a:pt x="5905" y="12023"/>
                </a:cubicBezTo>
                <a:cubicBezTo>
                  <a:pt x="5905" y="11943"/>
                  <a:pt x="5921" y="11868"/>
                  <a:pt x="5950" y="11799"/>
                </a:cubicBezTo>
                <a:cubicBezTo>
                  <a:pt x="5698" y="11627"/>
                  <a:pt x="5447" y="11455"/>
                  <a:pt x="5196" y="11284"/>
                </a:cubicBezTo>
                <a:cubicBezTo>
                  <a:pt x="5170" y="11313"/>
                  <a:pt x="5132" y="11332"/>
                  <a:pt x="5090" y="11332"/>
                </a:cubicBezTo>
                <a:cubicBezTo>
                  <a:pt x="5011" y="11332"/>
                  <a:pt x="4948" y="11268"/>
                  <a:pt x="4948" y="11190"/>
                </a:cubicBezTo>
                <a:cubicBezTo>
                  <a:pt x="4948" y="11111"/>
                  <a:pt x="5011" y="11048"/>
                  <a:pt x="5090" y="11048"/>
                </a:cubicBezTo>
                <a:cubicBezTo>
                  <a:pt x="5111" y="11048"/>
                  <a:pt x="5131" y="11053"/>
                  <a:pt x="5149" y="11061"/>
                </a:cubicBezTo>
                <a:lnTo>
                  <a:pt x="5677" y="10217"/>
                </a:lnTo>
                <a:cubicBezTo>
                  <a:pt x="5638" y="10192"/>
                  <a:pt x="5602" y="10164"/>
                  <a:pt x="5569" y="10132"/>
                </a:cubicBezTo>
                <a:cubicBezTo>
                  <a:pt x="5464" y="10026"/>
                  <a:pt x="5398" y="9879"/>
                  <a:pt x="5398" y="9718"/>
                </a:cubicBezTo>
                <a:cubicBezTo>
                  <a:pt x="5398" y="9572"/>
                  <a:pt x="5452" y="9438"/>
                  <a:pt x="5541" y="9335"/>
                </a:cubicBezTo>
                <a:lnTo>
                  <a:pt x="4872" y="8626"/>
                </a:lnTo>
                <a:cubicBezTo>
                  <a:pt x="4849" y="8644"/>
                  <a:pt x="4820" y="8654"/>
                  <a:pt x="4788" y="8654"/>
                </a:cubicBezTo>
                <a:cubicBezTo>
                  <a:pt x="4710" y="8654"/>
                  <a:pt x="4646" y="8590"/>
                  <a:pt x="4646" y="8512"/>
                </a:cubicBezTo>
                <a:cubicBezTo>
                  <a:pt x="4646" y="8446"/>
                  <a:pt x="4691" y="8391"/>
                  <a:pt x="4752" y="8375"/>
                </a:cubicBezTo>
                <a:lnTo>
                  <a:pt x="4610" y="7342"/>
                </a:lnTo>
                <a:cubicBezTo>
                  <a:pt x="4596" y="7343"/>
                  <a:pt x="4582" y="7344"/>
                  <a:pt x="4567" y="7344"/>
                </a:cubicBezTo>
                <a:cubicBezTo>
                  <a:pt x="4406" y="7344"/>
                  <a:pt x="4260" y="7278"/>
                  <a:pt x="4154" y="7173"/>
                </a:cubicBezTo>
                <a:cubicBezTo>
                  <a:pt x="4048" y="7067"/>
                  <a:pt x="3983" y="6921"/>
                  <a:pt x="3983" y="6759"/>
                </a:cubicBezTo>
                <a:cubicBezTo>
                  <a:pt x="3983" y="6646"/>
                  <a:pt x="4015" y="6540"/>
                  <a:pt x="4070" y="6451"/>
                </a:cubicBezTo>
                <a:lnTo>
                  <a:pt x="2492" y="5157"/>
                </a:lnTo>
                <a:cubicBezTo>
                  <a:pt x="2466" y="5181"/>
                  <a:pt x="2432" y="5196"/>
                  <a:pt x="2394" y="5196"/>
                </a:cubicBezTo>
                <a:cubicBezTo>
                  <a:pt x="2327" y="5196"/>
                  <a:pt x="2271" y="5150"/>
                  <a:pt x="2256" y="5088"/>
                </a:cubicBezTo>
                <a:lnTo>
                  <a:pt x="1759" y="5145"/>
                </a:lnTo>
                <a:cubicBezTo>
                  <a:pt x="1759" y="5150"/>
                  <a:pt x="1759" y="5154"/>
                  <a:pt x="1759" y="5158"/>
                </a:cubicBezTo>
                <a:cubicBezTo>
                  <a:pt x="1759" y="5320"/>
                  <a:pt x="1693" y="5466"/>
                  <a:pt x="1588" y="5572"/>
                </a:cubicBezTo>
                <a:cubicBezTo>
                  <a:pt x="1482" y="5678"/>
                  <a:pt x="1335" y="5743"/>
                  <a:pt x="1174" y="5743"/>
                </a:cubicBezTo>
                <a:cubicBezTo>
                  <a:pt x="1012" y="5743"/>
                  <a:pt x="866" y="5678"/>
                  <a:pt x="760" y="5572"/>
                </a:cubicBezTo>
                <a:cubicBezTo>
                  <a:pt x="655" y="5466"/>
                  <a:pt x="589" y="5320"/>
                  <a:pt x="589" y="5158"/>
                </a:cubicBezTo>
                <a:cubicBezTo>
                  <a:pt x="589" y="5001"/>
                  <a:pt x="651" y="4858"/>
                  <a:pt x="752" y="4753"/>
                </a:cubicBezTo>
                <a:cubicBezTo>
                  <a:pt x="576" y="4555"/>
                  <a:pt x="399" y="4358"/>
                  <a:pt x="223" y="4160"/>
                </a:cubicBezTo>
                <a:cubicBezTo>
                  <a:pt x="200" y="4176"/>
                  <a:pt x="172" y="4185"/>
                  <a:pt x="142" y="4185"/>
                </a:cubicBezTo>
                <a:cubicBezTo>
                  <a:pt x="64" y="4185"/>
                  <a:pt x="0" y="4121"/>
                  <a:pt x="0" y="4043"/>
                </a:cubicBezTo>
                <a:cubicBezTo>
                  <a:pt x="0" y="3965"/>
                  <a:pt x="64" y="3901"/>
                  <a:pt x="142" y="3901"/>
                </a:cubicBezTo>
                <a:close/>
                <a:moveTo>
                  <a:pt x="6865" y="11974"/>
                </a:moveTo>
                <a:lnTo>
                  <a:pt x="6865" y="11965"/>
                </a:lnTo>
                <a:cubicBezTo>
                  <a:pt x="6865" y="11930"/>
                  <a:pt x="6836" y="11902"/>
                  <a:pt x="6802" y="11902"/>
                </a:cubicBezTo>
                <a:lnTo>
                  <a:pt x="6799" y="11902"/>
                </a:lnTo>
                <a:cubicBezTo>
                  <a:pt x="6799" y="11732"/>
                  <a:pt x="6660" y="11593"/>
                  <a:pt x="6490" y="11593"/>
                </a:cubicBezTo>
                <a:cubicBezTo>
                  <a:pt x="6320" y="11593"/>
                  <a:pt x="6181" y="11732"/>
                  <a:pt x="6181" y="11902"/>
                </a:cubicBezTo>
                <a:lnTo>
                  <a:pt x="6178" y="11902"/>
                </a:lnTo>
                <a:cubicBezTo>
                  <a:pt x="6143" y="11902"/>
                  <a:pt x="6115" y="11930"/>
                  <a:pt x="6115" y="11965"/>
                </a:cubicBezTo>
                <a:lnTo>
                  <a:pt x="6115" y="11974"/>
                </a:lnTo>
                <a:cubicBezTo>
                  <a:pt x="6095" y="11974"/>
                  <a:pt x="6078" y="11991"/>
                  <a:pt x="6078" y="12011"/>
                </a:cubicBezTo>
                <a:lnTo>
                  <a:pt x="6078" y="12143"/>
                </a:lnTo>
                <a:cubicBezTo>
                  <a:pt x="6078" y="12164"/>
                  <a:pt x="6095" y="12180"/>
                  <a:pt x="6115" y="12180"/>
                </a:cubicBezTo>
                <a:lnTo>
                  <a:pt x="6115" y="12190"/>
                </a:lnTo>
                <a:cubicBezTo>
                  <a:pt x="6115" y="12225"/>
                  <a:pt x="6143" y="12253"/>
                  <a:pt x="6178" y="12253"/>
                </a:cubicBezTo>
                <a:lnTo>
                  <a:pt x="6233" y="12253"/>
                </a:lnTo>
                <a:cubicBezTo>
                  <a:pt x="6267" y="12253"/>
                  <a:pt x="6296" y="12225"/>
                  <a:pt x="6296" y="12190"/>
                </a:cubicBezTo>
                <a:lnTo>
                  <a:pt x="6296" y="11965"/>
                </a:lnTo>
                <a:cubicBezTo>
                  <a:pt x="6296" y="11930"/>
                  <a:pt x="6267" y="11902"/>
                  <a:pt x="6233" y="11902"/>
                </a:cubicBezTo>
                <a:lnTo>
                  <a:pt x="6229" y="11902"/>
                </a:lnTo>
                <a:cubicBezTo>
                  <a:pt x="6229" y="11758"/>
                  <a:pt x="6346" y="11641"/>
                  <a:pt x="6490" y="11641"/>
                </a:cubicBezTo>
                <a:cubicBezTo>
                  <a:pt x="6633" y="11641"/>
                  <a:pt x="6750" y="11758"/>
                  <a:pt x="6750" y="11902"/>
                </a:cubicBezTo>
                <a:lnTo>
                  <a:pt x="6747" y="11902"/>
                </a:lnTo>
                <a:cubicBezTo>
                  <a:pt x="6712" y="11902"/>
                  <a:pt x="6684" y="11930"/>
                  <a:pt x="6684" y="11965"/>
                </a:cubicBezTo>
                <a:lnTo>
                  <a:pt x="6684" y="12190"/>
                </a:lnTo>
                <a:cubicBezTo>
                  <a:pt x="6684" y="12225"/>
                  <a:pt x="6712" y="12253"/>
                  <a:pt x="6747" y="12253"/>
                </a:cubicBezTo>
                <a:lnTo>
                  <a:pt x="6802" y="12253"/>
                </a:lnTo>
                <a:cubicBezTo>
                  <a:pt x="6836" y="12253"/>
                  <a:pt x="6865" y="12225"/>
                  <a:pt x="6865" y="12190"/>
                </a:cubicBezTo>
                <a:lnTo>
                  <a:pt x="6865" y="12180"/>
                </a:lnTo>
                <a:cubicBezTo>
                  <a:pt x="6885" y="12180"/>
                  <a:pt x="6902" y="12164"/>
                  <a:pt x="6902" y="12143"/>
                </a:cubicBezTo>
                <a:lnTo>
                  <a:pt x="6902" y="12011"/>
                </a:lnTo>
                <a:cubicBezTo>
                  <a:pt x="6902" y="11991"/>
                  <a:pt x="6885" y="11974"/>
                  <a:pt x="6865" y="11974"/>
                </a:cubicBezTo>
                <a:close/>
                <a:moveTo>
                  <a:pt x="6834" y="11550"/>
                </a:moveTo>
                <a:lnTo>
                  <a:pt x="7342" y="10716"/>
                </a:lnTo>
                <a:cubicBezTo>
                  <a:pt x="7310" y="10690"/>
                  <a:pt x="7289" y="10649"/>
                  <a:pt x="7289" y="10604"/>
                </a:cubicBezTo>
                <a:cubicBezTo>
                  <a:pt x="7289" y="10585"/>
                  <a:pt x="7292" y="10567"/>
                  <a:pt x="7300" y="10550"/>
                </a:cubicBezTo>
                <a:lnTo>
                  <a:pt x="6739" y="10228"/>
                </a:lnTo>
                <a:lnTo>
                  <a:pt x="6593" y="11447"/>
                </a:lnTo>
                <a:cubicBezTo>
                  <a:pt x="6682" y="11463"/>
                  <a:pt x="6764" y="11499"/>
                  <a:pt x="6834" y="11550"/>
                </a:cubicBezTo>
                <a:close/>
                <a:moveTo>
                  <a:pt x="6558" y="11442"/>
                </a:moveTo>
                <a:lnTo>
                  <a:pt x="6706" y="10209"/>
                </a:lnTo>
                <a:lnTo>
                  <a:pt x="6454" y="10065"/>
                </a:lnTo>
                <a:cubicBezTo>
                  <a:pt x="6436" y="10089"/>
                  <a:pt x="6417" y="10111"/>
                  <a:pt x="6397" y="10132"/>
                </a:cubicBezTo>
                <a:cubicBezTo>
                  <a:pt x="6291" y="10237"/>
                  <a:pt x="6144" y="10303"/>
                  <a:pt x="5983" y="10303"/>
                </a:cubicBezTo>
                <a:cubicBezTo>
                  <a:pt x="5883" y="10303"/>
                  <a:pt x="5790" y="10278"/>
                  <a:pt x="5708" y="10234"/>
                </a:cubicBezTo>
                <a:lnTo>
                  <a:pt x="5179" y="11080"/>
                </a:lnTo>
                <a:cubicBezTo>
                  <a:pt x="5211" y="11106"/>
                  <a:pt x="5231" y="11145"/>
                  <a:pt x="5231" y="11190"/>
                </a:cubicBezTo>
                <a:cubicBezTo>
                  <a:pt x="5231" y="11213"/>
                  <a:pt x="5226" y="11235"/>
                  <a:pt x="5216" y="11255"/>
                </a:cubicBezTo>
                <a:lnTo>
                  <a:pt x="5964" y="11766"/>
                </a:lnTo>
                <a:cubicBezTo>
                  <a:pt x="5993" y="11708"/>
                  <a:pt x="6031" y="11655"/>
                  <a:pt x="6076" y="11609"/>
                </a:cubicBezTo>
                <a:cubicBezTo>
                  <a:pt x="6182" y="11503"/>
                  <a:pt x="6328" y="11438"/>
                  <a:pt x="6490" y="11438"/>
                </a:cubicBezTo>
                <a:cubicBezTo>
                  <a:pt x="6513" y="11438"/>
                  <a:pt x="6535" y="11439"/>
                  <a:pt x="6558" y="11442"/>
                </a:cubicBezTo>
                <a:close/>
                <a:moveTo>
                  <a:pt x="6854" y="11659"/>
                </a:moveTo>
                <a:cubicBezTo>
                  <a:pt x="6761" y="11566"/>
                  <a:pt x="6632" y="11508"/>
                  <a:pt x="6490" y="11508"/>
                </a:cubicBezTo>
                <a:cubicBezTo>
                  <a:pt x="6348" y="11508"/>
                  <a:pt x="6219" y="11566"/>
                  <a:pt x="6126" y="11659"/>
                </a:cubicBezTo>
                <a:cubicBezTo>
                  <a:pt x="6033" y="11752"/>
                  <a:pt x="5975" y="11881"/>
                  <a:pt x="5975" y="12023"/>
                </a:cubicBezTo>
                <a:cubicBezTo>
                  <a:pt x="5975" y="12165"/>
                  <a:pt x="6033" y="12294"/>
                  <a:pt x="6126" y="12387"/>
                </a:cubicBezTo>
                <a:cubicBezTo>
                  <a:pt x="6219" y="12480"/>
                  <a:pt x="6348" y="12537"/>
                  <a:pt x="6490" y="12537"/>
                </a:cubicBezTo>
                <a:cubicBezTo>
                  <a:pt x="6632" y="12537"/>
                  <a:pt x="6761" y="12480"/>
                  <a:pt x="6854" y="12387"/>
                </a:cubicBezTo>
                <a:cubicBezTo>
                  <a:pt x="6947" y="12294"/>
                  <a:pt x="7004" y="12165"/>
                  <a:pt x="7004" y="12023"/>
                </a:cubicBezTo>
                <a:cubicBezTo>
                  <a:pt x="7004" y="11881"/>
                  <a:pt x="6947" y="11752"/>
                  <a:pt x="6854" y="11659"/>
                </a:cubicBezTo>
                <a:close/>
                <a:moveTo>
                  <a:pt x="9541" y="9116"/>
                </a:moveTo>
                <a:lnTo>
                  <a:pt x="9380" y="9116"/>
                </a:lnTo>
                <a:lnTo>
                  <a:pt x="9380" y="9097"/>
                </a:lnTo>
                <a:lnTo>
                  <a:pt x="9541" y="9097"/>
                </a:lnTo>
                <a:lnTo>
                  <a:pt x="9541" y="9116"/>
                </a:lnTo>
                <a:close/>
                <a:moveTo>
                  <a:pt x="9055" y="9085"/>
                </a:moveTo>
                <a:lnTo>
                  <a:pt x="9055" y="9134"/>
                </a:lnTo>
                <a:lnTo>
                  <a:pt x="9849" y="9135"/>
                </a:lnTo>
                <a:lnTo>
                  <a:pt x="9849" y="9086"/>
                </a:lnTo>
                <a:lnTo>
                  <a:pt x="9055" y="9085"/>
                </a:lnTo>
                <a:close/>
                <a:moveTo>
                  <a:pt x="9742" y="9015"/>
                </a:moveTo>
                <a:lnTo>
                  <a:pt x="9142" y="9015"/>
                </a:lnTo>
                <a:lnTo>
                  <a:pt x="9143" y="8638"/>
                </a:lnTo>
                <a:lnTo>
                  <a:pt x="9743" y="8638"/>
                </a:lnTo>
                <a:lnTo>
                  <a:pt x="9742" y="9015"/>
                </a:lnTo>
                <a:close/>
                <a:moveTo>
                  <a:pt x="9788" y="8593"/>
                </a:moveTo>
                <a:lnTo>
                  <a:pt x="9098" y="8593"/>
                </a:lnTo>
                <a:lnTo>
                  <a:pt x="9097" y="9060"/>
                </a:lnTo>
                <a:lnTo>
                  <a:pt x="9787" y="9060"/>
                </a:lnTo>
                <a:lnTo>
                  <a:pt x="9788" y="8593"/>
                </a:lnTo>
                <a:close/>
                <a:moveTo>
                  <a:pt x="9550" y="8287"/>
                </a:moveTo>
                <a:lnTo>
                  <a:pt x="10195" y="5965"/>
                </a:lnTo>
                <a:cubicBezTo>
                  <a:pt x="10169" y="5954"/>
                  <a:pt x="10147" y="5935"/>
                  <a:pt x="10131" y="5912"/>
                </a:cubicBezTo>
                <a:lnTo>
                  <a:pt x="9282" y="6328"/>
                </a:lnTo>
                <a:cubicBezTo>
                  <a:pt x="9336" y="6417"/>
                  <a:pt x="9368" y="6521"/>
                  <a:pt x="9368" y="6632"/>
                </a:cubicBezTo>
                <a:cubicBezTo>
                  <a:pt x="9368" y="6794"/>
                  <a:pt x="9302" y="6940"/>
                  <a:pt x="9196" y="7046"/>
                </a:cubicBezTo>
                <a:cubicBezTo>
                  <a:pt x="9133" y="7109"/>
                  <a:pt x="9054" y="7158"/>
                  <a:pt x="8967" y="7187"/>
                </a:cubicBezTo>
                <a:lnTo>
                  <a:pt x="9285" y="8303"/>
                </a:lnTo>
                <a:cubicBezTo>
                  <a:pt x="9338" y="8288"/>
                  <a:pt x="9394" y="8279"/>
                  <a:pt x="9452" y="8279"/>
                </a:cubicBezTo>
                <a:cubicBezTo>
                  <a:pt x="9485" y="8279"/>
                  <a:pt x="9518" y="8282"/>
                  <a:pt x="9550" y="8287"/>
                </a:cubicBezTo>
                <a:close/>
                <a:moveTo>
                  <a:pt x="9251" y="8314"/>
                </a:moveTo>
                <a:lnTo>
                  <a:pt x="8933" y="7197"/>
                </a:lnTo>
                <a:cubicBezTo>
                  <a:pt x="8885" y="7210"/>
                  <a:pt x="8835" y="7217"/>
                  <a:pt x="8783" y="7217"/>
                </a:cubicBezTo>
                <a:cubicBezTo>
                  <a:pt x="8621" y="7217"/>
                  <a:pt x="8475" y="7151"/>
                  <a:pt x="8369" y="7046"/>
                </a:cubicBezTo>
                <a:cubicBezTo>
                  <a:pt x="8311" y="6988"/>
                  <a:pt x="8266" y="6918"/>
                  <a:pt x="8236" y="6841"/>
                </a:cubicBezTo>
                <a:lnTo>
                  <a:pt x="7569" y="7168"/>
                </a:lnTo>
                <a:cubicBezTo>
                  <a:pt x="7599" y="7239"/>
                  <a:pt x="7616" y="7317"/>
                  <a:pt x="7616" y="7398"/>
                </a:cubicBezTo>
                <a:cubicBezTo>
                  <a:pt x="7616" y="7560"/>
                  <a:pt x="7550" y="7706"/>
                  <a:pt x="7444" y="7812"/>
                </a:cubicBezTo>
                <a:cubicBezTo>
                  <a:pt x="7338" y="7918"/>
                  <a:pt x="7192" y="7983"/>
                  <a:pt x="7031" y="7983"/>
                </a:cubicBezTo>
                <a:cubicBezTo>
                  <a:pt x="7024" y="7983"/>
                  <a:pt x="7016" y="7983"/>
                  <a:pt x="7009" y="7983"/>
                </a:cubicBezTo>
                <a:lnTo>
                  <a:pt x="6930" y="8642"/>
                </a:lnTo>
                <a:lnTo>
                  <a:pt x="8874" y="8776"/>
                </a:lnTo>
                <a:cubicBezTo>
                  <a:pt x="8893" y="8650"/>
                  <a:pt x="8952" y="8537"/>
                  <a:pt x="9038" y="8450"/>
                </a:cubicBezTo>
                <a:cubicBezTo>
                  <a:pt x="9098" y="8391"/>
                  <a:pt x="9171" y="8344"/>
                  <a:pt x="9251" y="8314"/>
                </a:cubicBezTo>
                <a:close/>
                <a:moveTo>
                  <a:pt x="8869" y="8811"/>
                </a:moveTo>
                <a:lnTo>
                  <a:pt x="6926" y="8677"/>
                </a:lnTo>
                <a:lnTo>
                  <a:pt x="6847" y="9335"/>
                </a:lnTo>
                <a:lnTo>
                  <a:pt x="7395" y="9560"/>
                </a:lnTo>
                <a:cubicBezTo>
                  <a:pt x="7420" y="9516"/>
                  <a:pt x="7466" y="9487"/>
                  <a:pt x="7519" y="9487"/>
                </a:cubicBezTo>
                <a:cubicBezTo>
                  <a:pt x="7572" y="9487"/>
                  <a:pt x="7618" y="9516"/>
                  <a:pt x="7642" y="9558"/>
                </a:cubicBezTo>
                <a:lnTo>
                  <a:pt x="8892" y="9033"/>
                </a:lnTo>
                <a:cubicBezTo>
                  <a:pt x="8876" y="8979"/>
                  <a:pt x="8867" y="8923"/>
                  <a:pt x="8867" y="8864"/>
                </a:cubicBezTo>
                <a:cubicBezTo>
                  <a:pt x="8867" y="8846"/>
                  <a:pt x="8868" y="8828"/>
                  <a:pt x="8869" y="8811"/>
                </a:cubicBezTo>
                <a:close/>
                <a:moveTo>
                  <a:pt x="9816" y="8500"/>
                </a:moveTo>
                <a:cubicBezTo>
                  <a:pt x="9723" y="8407"/>
                  <a:pt x="9594" y="8350"/>
                  <a:pt x="9452" y="8350"/>
                </a:cubicBezTo>
                <a:cubicBezTo>
                  <a:pt x="9310" y="8350"/>
                  <a:pt x="9181" y="8407"/>
                  <a:pt x="9088" y="8500"/>
                </a:cubicBezTo>
                <a:cubicBezTo>
                  <a:pt x="8995" y="8593"/>
                  <a:pt x="8938" y="8722"/>
                  <a:pt x="8938" y="8864"/>
                </a:cubicBezTo>
                <a:cubicBezTo>
                  <a:pt x="8938" y="9006"/>
                  <a:pt x="8995" y="9135"/>
                  <a:pt x="9088" y="9228"/>
                </a:cubicBezTo>
                <a:cubicBezTo>
                  <a:pt x="9181" y="9321"/>
                  <a:pt x="9310" y="9378"/>
                  <a:pt x="9452" y="9378"/>
                </a:cubicBezTo>
                <a:cubicBezTo>
                  <a:pt x="9594" y="9378"/>
                  <a:pt x="9723" y="9321"/>
                  <a:pt x="9816" y="9228"/>
                </a:cubicBezTo>
                <a:cubicBezTo>
                  <a:pt x="9909" y="9135"/>
                  <a:pt x="9966" y="9006"/>
                  <a:pt x="9966" y="8864"/>
                </a:cubicBezTo>
                <a:cubicBezTo>
                  <a:pt x="9966" y="8722"/>
                  <a:pt x="9909" y="8593"/>
                  <a:pt x="9816" y="8500"/>
                </a:cubicBezTo>
                <a:close/>
                <a:moveTo>
                  <a:pt x="6201" y="9847"/>
                </a:moveTo>
                <a:cubicBezTo>
                  <a:pt x="6199" y="9859"/>
                  <a:pt x="6189" y="9868"/>
                  <a:pt x="6179" y="9867"/>
                </a:cubicBezTo>
                <a:lnTo>
                  <a:pt x="5959" y="9831"/>
                </a:lnTo>
                <a:cubicBezTo>
                  <a:pt x="5960" y="9837"/>
                  <a:pt x="5960" y="9843"/>
                  <a:pt x="5959" y="9849"/>
                </a:cubicBezTo>
                <a:cubicBezTo>
                  <a:pt x="5958" y="9859"/>
                  <a:pt x="5953" y="9869"/>
                  <a:pt x="5946" y="9877"/>
                </a:cubicBezTo>
                <a:cubicBezTo>
                  <a:pt x="5940" y="9886"/>
                  <a:pt x="5930" y="9892"/>
                  <a:pt x="5919" y="9896"/>
                </a:cubicBezTo>
                <a:lnTo>
                  <a:pt x="5919" y="9897"/>
                </a:lnTo>
                <a:cubicBezTo>
                  <a:pt x="5930" y="9904"/>
                  <a:pt x="5938" y="9913"/>
                  <a:pt x="5943" y="9923"/>
                </a:cubicBezTo>
                <a:cubicBezTo>
                  <a:pt x="5948" y="9932"/>
                  <a:pt x="5949" y="9944"/>
                  <a:pt x="5947" y="9957"/>
                </a:cubicBezTo>
                <a:cubicBezTo>
                  <a:pt x="5944" y="9976"/>
                  <a:pt x="5935" y="9990"/>
                  <a:pt x="5920" y="10001"/>
                </a:cubicBezTo>
                <a:cubicBezTo>
                  <a:pt x="5906" y="10011"/>
                  <a:pt x="5889" y="10015"/>
                  <a:pt x="5869" y="10011"/>
                </a:cubicBezTo>
                <a:cubicBezTo>
                  <a:pt x="5866" y="10011"/>
                  <a:pt x="5862" y="10010"/>
                  <a:pt x="5859" y="10009"/>
                </a:cubicBezTo>
                <a:lnTo>
                  <a:pt x="5639" y="10101"/>
                </a:lnTo>
                <a:cubicBezTo>
                  <a:pt x="5730" y="10183"/>
                  <a:pt x="5851" y="10232"/>
                  <a:pt x="5983" y="10232"/>
                </a:cubicBezTo>
                <a:cubicBezTo>
                  <a:pt x="6125" y="10232"/>
                  <a:pt x="6254" y="10175"/>
                  <a:pt x="6347" y="10082"/>
                </a:cubicBezTo>
                <a:cubicBezTo>
                  <a:pt x="6440" y="9989"/>
                  <a:pt x="6497" y="9860"/>
                  <a:pt x="6497" y="9718"/>
                </a:cubicBezTo>
                <a:cubicBezTo>
                  <a:pt x="6497" y="9576"/>
                  <a:pt x="6440" y="9447"/>
                  <a:pt x="6347" y="9354"/>
                </a:cubicBezTo>
                <a:cubicBezTo>
                  <a:pt x="6254" y="9261"/>
                  <a:pt x="6125" y="9204"/>
                  <a:pt x="5983" y="9204"/>
                </a:cubicBezTo>
                <a:cubicBezTo>
                  <a:pt x="5841" y="9204"/>
                  <a:pt x="5712" y="9261"/>
                  <a:pt x="5619" y="9354"/>
                </a:cubicBezTo>
                <a:cubicBezTo>
                  <a:pt x="5526" y="9447"/>
                  <a:pt x="5469" y="9576"/>
                  <a:pt x="5469" y="9718"/>
                </a:cubicBezTo>
                <a:cubicBezTo>
                  <a:pt x="5469" y="9847"/>
                  <a:pt x="5516" y="9965"/>
                  <a:pt x="5595" y="10056"/>
                </a:cubicBezTo>
                <a:lnTo>
                  <a:pt x="5812" y="9963"/>
                </a:lnTo>
                <a:cubicBezTo>
                  <a:pt x="5810" y="9955"/>
                  <a:pt x="5810" y="9946"/>
                  <a:pt x="5812" y="9936"/>
                </a:cubicBezTo>
                <a:cubicBezTo>
                  <a:pt x="5814" y="9924"/>
                  <a:pt x="5818" y="9913"/>
                  <a:pt x="5826" y="9904"/>
                </a:cubicBezTo>
                <a:cubicBezTo>
                  <a:pt x="5834" y="9896"/>
                  <a:pt x="5844" y="9889"/>
                  <a:pt x="5856" y="9885"/>
                </a:cubicBezTo>
                <a:lnTo>
                  <a:pt x="5856" y="9884"/>
                </a:lnTo>
                <a:cubicBezTo>
                  <a:pt x="5847" y="9876"/>
                  <a:pt x="5840" y="9868"/>
                  <a:pt x="5836" y="9860"/>
                </a:cubicBezTo>
                <a:cubicBezTo>
                  <a:pt x="5833" y="9852"/>
                  <a:pt x="5832" y="9843"/>
                  <a:pt x="5833" y="9831"/>
                </a:cubicBezTo>
                <a:cubicBezTo>
                  <a:pt x="5835" y="9824"/>
                  <a:pt x="5837" y="9818"/>
                  <a:pt x="5840" y="9812"/>
                </a:cubicBezTo>
                <a:lnTo>
                  <a:pt x="5619" y="9777"/>
                </a:lnTo>
                <a:cubicBezTo>
                  <a:pt x="5609" y="9776"/>
                  <a:pt x="5602" y="9764"/>
                  <a:pt x="5604" y="9751"/>
                </a:cubicBezTo>
                <a:lnTo>
                  <a:pt x="5646" y="9490"/>
                </a:lnTo>
                <a:cubicBezTo>
                  <a:pt x="5648" y="9477"/>
                  <a:pt x="5658" y="9468"/>
                  <a:pt x="5668" y="9470"/>
                </a:cubicBezTo>
                <a:lnTo>
                  <a:pt x="6228" y="9559"/>
                </a:lnTo>
                <a:cubicBezTo>
                  <a:pt x="6238" y="9561"/>
                  <a:pt x="6245" y="9572"/>
                  <a:pt x="6243" y="9585"/>
                </a:cubicBezTo>
                <a:lnTo>
                  <a:pt x="6201" y="9847"/>
                </a:lnTo>
                <a:close/>
                <a:moveTo>
                  <a:pt x="6292" y="9824"/>
                </a:moveTo>
                <a:cubicBezTo>
                  <a:pt x="6290" y="9833"/>
                  <a:pt x="6288" y="9840"/>
                  <a:pt x="6287" y="9840"/>
                </a:cubicBezTo>
                <a:lnTo>
                  <a:pt x="6218" y="9829"/>
                </a:lnTo>
                <a:cubicBezTo>
                  <a:pt x="6216" y="9829"/>
                  <a:pt x="6217" y="9821"/>
                  <a:pt x="6218" y="9812"/>
                </a:cubicBezTo>
                <a:lnTo>
                  <a:pt x="6248" y="9623"/>
                </a:lnTo>
                <a:cubicBezTo>
                  <a:pt x="6250" y="9614"/>
                  <a:pt x="6252" y="9607"/>
                  <a:pt x="6253" y="9607"/>
                </a:cubicBezTo>
                <a:lnTo>
                  <a:pt x="6322" y="9618"/>
                </a:lnTo>
                <a:cubicBezTo>
                  <a:pt x="6323" y="9618"/>
                  <a:pt x="6323" y="9626"/>
                  <a:pt x="6322" y="9635"/>
                </a:cubicBezTo>
                <a:lnTo>
                  <a:pt x="6292" y="9824"/>
                </a:lnTo>
                <a:close/>
                <a:moveTo>
                  <a:pt x="6356" y="9819"/>
                </a:moveTo>
                <a:cubicBezTo>
                  <a:pt x="6355" y="9826"/>
                  <a:pt x="6354" y="9832"/>
                  <a:pt x="6353" y="9832"/>
                </a:cubicBezTo>
                <a:lnTo>
                  <a:pt x="6316" y="9826"/>
                </a:lnTo>
                <a:cubicBezTo>
                  <a:pt x="6315" y="9826"/>
                  <a:pt x="6315" y="9820"/>
                  <a:pt x="6317" y="9812"/>
                </a:cubicBezTo>
                <a:lnTo>
                  <a:pt x="6341" y="9657"/>
                </a:lnTo>
                <a:cubicBezTo>
                  <a:pt x="6342" y="9650"/>
                  <a:pt x="6344" y="9644"/>
                  <a:pt x="6345" y="9644"/>
                </a:cubicBezTo>
                <a:lnTo>
                  <a:pt x="6382" y="9650"/>
                </a:lnTo>
                <a:cubicBezTo>
                  <a:pt x="6383" y="9650"/>
                  <a:pt x="6382" y="9656"/>
                  <a:pt x="6381" y="9664"/>
                </a:cubicBezTo>
                <a:lnTo>
                  <a:pt x="6356" y="9819"/>
                </a:lnTo>
                <a:close/>
                <a:moveTo>
                  <a:pt x="6474" y="10036"/>
                </a:moveTo>
                <a:lnTo>
                  <a:pt x="6711" y="10172"/>
                </a:lnTo>
                <a:lnTo>
                  <a:pt x="6765" y="9716"/>
                </a:lnTo>
                <a:lnTo>
                  <a:pt x="6568" y="9734"/>
                </a:lnTo>
                <a:cubicBezTo>
                  <a:pt x="6565" y="9845"/>
                  <a:pt x="6531" y="9949"/>
                  <a:pt x="6474" y="10036"/>
                </a:cubicBezTo>
                <a:close/>
                <a:moveTo>
                  <a:pt x="6568" y="9699"/>
                </a:moveTo>
                <a:lnTo>
                  <a:pt x="6770" y="9680"/>
                </a:lnTo>
                <a:lnTo>
                  <a:pt x="6808" y="9357"/>
                </a:lnTo>
                <a:lnTo>
                  <a:pt x="4912" y="8581"/>
                </a:lnTo>
                <a:cubicBezTo>
                  <a:pt x="4908" y="8589"/>
                  <a:pt x="4903" y="8596"/>
                  <a:pt x="4898" y="8602"/>
                </a:cubicBezTo>
                <a:lnTo>
                  <a:pt x="5565" y="9309"/>
                </a:lnTo>
                <a:cubicBezTo>
                  <a:pt x="5566" y="9308"/>
                  <a:pt x="5568" y="9306"/>
                  <a:pt x="5569" y="9304"/>
                </a:cubicBezTo>
                <a:cubicBezTo>
                  <a:pt x="5675" y="9199"/>
                  <a:pt x="5821" y="9133"/>
                  <a:pt x="5983" y="9133"/>
                </a:cubicBezTo>
                <a:cubicBezTo>
                  <a:pt x="6144" y="9133"/>
                  <a:pt x="6291" y="9199"/>
                  <a:pt x="6397" y="9304"/>
                </a:cubicBezTo>
                <a:cubicBezTo>
                  <a:pt x="6498" y="9406"/>
                  <a:pt x="6563" y="9545"/>
                  <a:pt x="6568" y="9699"/>
                </a:cubicBezTo>
                <a:close/>
                <a:moveTo>
                  <a:pt x="4877" y="6938"/>
                </a:moveTo>
                <a:lnTo>
                  <a:pt x="4877" y="6896"/>
                </a:lnTo>
                <a:cubicBezTo>
                  <a:pt x="4877" y="6866"/>
                  <a:pt x="4850" y="6841"/>
                  <a:pt x="4817" y="6841"/>
                </a:cubicBezTo>
                <a:lnTo>
                  <a:pt x="4817" y="6841"/>
                </a:lnTo>
                <a:cubicBezTo>
                  <a:pt x="4784" y="6841"/>
                  <a:pt x="4756" y="6866"/>
                  <a:pt x="4756" y="6896"/>
                </a:cubicBezTo>
                <a:lnTo>
                  <a:pt x="4756" y="6938"/>
                </a:lnTo>
                <a:lnTo>
                  <a:pt x="4877" y="6938"/>
                </a:lnTo>
                <a:close/>
                <a:moveTo>
                  <a:pt x="4743" y="6837"/>
                </a:moveTo>
                <a:cubicBezTo>
                  <a:pt x="4757" y="6824"/>
                  <a:pt x="4780" y="6815"/>
                  <a:pt x="4804" y="6815"/>
                </a:cubicBezTo>
                <a:lnTo>
                  <a:pt x="4830" y="6815"/>
                </a:lnTo>
                <a:cubicBezTo>
                  <a:pt x="4874" y="6815"/>
                  <a:pt x="4910" y="6843"/>
                  <a:pt x="4910" y="6877"/>
                </a:cubicBezTo>
                <a:lnTo>
                  <a:pt x="4910" y="6939"/>
                </a:lnTo>
                <a:cubicBezTo>
                  <a:pt x="4921" y="6941"/>
                  <a:pt x="4929" y="6951"/>
                  <a:pt x="4929" y="6963"/>
                </a:cubicBezTo>
                <a:lnTo>
                  <a:pt x="4929" y="7085"/>
                </a:lnTo>
                <a:cubicBezTo>
                  <a:pt x="4929" y="7099"/>
                  <a:pt x="4918" y="7110"/>
                  <a:pt x="4904" y="7110"/>
                </a:cubicBezTo>
                <a:lnTo>
                  <a:pt x="4731" y="7110"/>
                </a:lnTo>
                <a:cubicBezTo>
                  <a:pt x="4718" y="7110"/>
                  <a:pt x="4707" y="7099"/>
                  <a:pt x="4707" y="7085"/>
                </a:cubicBezTo>
                <a:lnTo>
                  <a:pt x="4707" y="7050"/>
                </a:lnTo>
                <a:lnTo>
                  <a:pt x="4614" y="7050"/>
                </a:lnTo>
                <a:lnTo>
                  <a:pt x="4614" y="6874"/>
                </a:lnTo>
                <a:lnTo>
                  <a:pt x="4471" y="6874"/>
                </a:lnTo>
                <a:lnTo>
                  <a:pt x="4471" y="7050"/>
                </a:lnTo>
                <a:lnTo>
                  <a:pt x="4342" y="7050"/>
                </a:lnTo>
                <a:lnTo>
                  <a:pt x="4342" y="6747"/>
                </a:lnTo>
                <a:lnTo>
                  <a:pt x="4542" y="6594"/>
                </a:lnTo>
                <a:lnTo>
                  <a:pt x="4743" y="6747"/>
                </a:lnTo>
                <a:lnTo>
                  <a:pt x="4743" y="6837"/>
                </a:lnTo>
                <a:close/>
                <a:moveTo>
                  <a:pt x="4845" y="7006"/>
                </a:moveTo>
                <a:cubicBezTo>
                  <a:pt x="4845" y="6991"/>
                  <a:pt x="4833" y="6979"/>
                  <a:pt x="4818" y="6979"/>
                </a:cubicBezTo>
                <a:cubicBezTo>
                  <a:pt x="4803" y="6979"/>
                  <a:pt x="4791" y="6991"/>
                  <a:pt x="4791" y="7006"/>
                </a:cubicBezTo>
                <a:cubicBezTo>
                  <a:pt x="4791" y="7018"/>
                  <a:pt x="4798" y="7026"/>
                  <a:pt x="4808" y="7030"/>
                </a:cubicBezTo>
                <a:lnTo>
                  <a:pt x="4809" y="7062"/>
                </a:lnTo>
                <a:cubicBezTo>
                  <a:pt x="4809" y="7066"/>
                  <a:pt x="4812" y="7069"/>
                  <a:pt x="4816" y="7069"/>
                </a:cubicBezTo>
                <a:lnTo>
                  <a:pt x="4825" y="7069"/>
                </a:lnTo>
                <a:cubicBezTo>
                  <a:pt x="4828" y="7069"/>
                  <a:pt x="4827" y="7046"/>
                  <a:pt x="4827" y="7042"/>
                </a:cubicBezTo>
                <a:cubicBezTo>
                  <a:pt x="4827" y="7042"/>
                  <a:pt x="4826" y="7029"/>
                  <a:pt x="4830" y="7029"/>
                </a:cubicBezTo>
                <a:cubicBezTo>
                  <a:pt x="4842" y="7029"/>
                  <a:pt x="4845" y="7006"/>
                  <a:pt x="4845" y="7006"/>
                </a:cubicBezTo>
                <a:close/>
                <a:moveTo>
                  <a:pt x="4278" y="6754"/>
                </a:moveTo>
                <a:lnTo>
                  <a:pt x="4206" y="6665"/>
                </a:lnTo>
                <a:lnTo>
                  <a:pt x="4542" y="6408"/>
                </a:lnTo>
                <a:lnTo>
                  <a:pt x="4643" y="6486"/>
                </a:lnTo>
                <a:lnTo>
                  <a:pt x="4643" y="6452"/>
                </a:lnTo>
                <a:lnTo>
                  <a:pt x="4769" y="6452"/>
                </a:lnTo>
                <a:lnTo>
                  <a:pt x="4769" y="6581"/>
                </a:lnTo>
                <a:lnTo>
                  <a:pt x="4878" y="6665"/>
                </a:lnTo>
                <a:lnTo>
                  <a:pt x="4809" y="6753"/>
                </a:lnTo>
                <a:lnTo>
                  <a:pt x="4542" y="6548"/>
                </a:lnTo>
                <a:lnTo>
                  <a:pt x="4278" y="6754"/>
                </a:lnTo>
                <a:close/>
                <a:moveTo>
                  <a:pt x="4645" y="7339"/>
                </a:moveTo>
                <a:lnTo>
                  <a:pt x="4786" y="8370"/>
                </a:lnTo>
                <a:cubicBezTo>
                  <a:pt x="4787" y="8370"/>
                  <a:pt x="4788" y="8370"/>
                  <a:pt x="4788" y="8370"/>
                </a:cubicBezTo>
                <a:cubicBezTo>
                  <a:pt x="4838" y="8370"/>
                  <a:pt x="4882" y="8396"/>
                  <a:pt x="4907" y="8434"/>
                </a:cubicBezTo>
                <a:lnTo>
                  <a:pt x="6503" y="7652"/>
                </a:lnTo>
                <a:cubicBezTo>
                  <a:pt x="6466" y="7575"/>
                  <a:pt x="6446" y="7489"/>
                  <a:pt x="6446" y="7398"/>
                </a:cubicBezTo>
                <a:cubicBezTo>
                  <a:pt x="6446" y="7245"/>
                  <a:pt x="6505" y="7104"/>
                  <a:pt x="6603" y="7000"/>
                </a:cubicBezTo>
                <a:lnTo>
                  <a:pt x="6578" y="6975"/>
                </a:lnTo>
                <a:cubicBezTo>
                  <a:pt x="6554" y="6994"/>
                  <a:pt x="6523" y="7005"/>
                  <a:pt x="6491" y="7005"/>
                </a:cubicBezTo>
                <a:cubicBezTo>
                  <a:pt x="6417" y="7005"/>
                  <a:pt x="6357" y="6950"/>
                  <a:pt x="6349" y="6878"/>
                </a:cubicBezTo>
                <a:lnTo>
                  <a:pt x="5144" y="6856"/>
                </a:lnTo>
                <a:cubicBezTo>
                  <a:pt x="5124" y="6979"/>
                  <a:pt x="5065" y="7088"/>
                  <a:pt x="4981" y="7173"/>
                </a:cubicBezTo>
                <a:cubicBezTo>
                  <a:pt x="4893" y="7261"/>
                  <a:pt x="4776" y="7321"/>
                  <a:pt x="4645" y="7339"/>
                </a:cubicBezTo>
                <a:close/>
                <a:moveTo>
                  <a:pt x="5149" y="6821"/>
                </a:moveTo>
                <a:lnTo>
                  <a:pt x="6350" y="6843"/>
                </a:lnTo>
                <a:cubicBezTo>
                  <a:pt x="6360" y="6774"/>
                  <a:pt x="6419" y="6722"/>
                  <a:pt x="6491" y="6722"/>
                </a:cubicBezTo>
                <a:cubicBezTo>
                  <a:pt x="6524" y="6722"/>
                  <a:pt x="6555" y="6733"/>
                  <a:pt x="6580" y="6753"/>
                </a:cubicBezTo>
                <a:lnTo>
                  <a:pt x="7290" y="6069"/>
                </a:lnTo>
                <a:lnTo>
                  <a:pt x="5147" y="6678"/>
                </a:lnTo>
                <a:cubicBezTo>
                  <a:pt x="5150" y="6705"/>
                  <a:pt x="5152" y="6732"/>
                  <a:pt x="5152" y="6759"/>
                </a:cubicBezTo>
                <a:cubicBezTo>
                  <a:pt x="5152" y="6780"/>
                  <a:pt x="5151" y="6800"/>
                  <a:pt x="5149" y="6821"/>
                </a:cubicBezTo>
                <a:close/>
                <a:moveTo>
                  <a:pt x="5141" y="6643"/>
                </a:moveTo>
                <a:lnTo>
                  <a:pt x="7344" y="6017"/>
                </a:lnTo>
                <a:lnTo>
                  <a:pt x="7992" y="5394"/>
                </a:lnTo>
                <a:cubicBezTo>
                  <a:pt x="7971" y="5378"/>
                  <a:pt x="7951" y="5360"/>
                  <a:pt x="7933" y="5342"/>
                </a:cubicBezTo>
                <a:cubicBezTo>
                  <a:pt x="7919" y="5328"/>
                  <a:pt x="7906" y="5314"/>
                  <a:pt x="7894" y="5299"/>
                </a:cubicBezTo>
                <a:lnTo>
                  <a:pt x="5125" y="6583"/>
                </a:lnTo>
                <a:cubicBezTo>
                  <a:pt x="5132" y="6603"/>
                  <a:pt x="5137" y="6623"/>
                  <a:pt x="5141" y="6643"/>
                </a:cubicBezTo>
                <a:close/>
                <a:moveTo>
                  <a:pt x="5114" y="6550"/>
                </a:moveTo>
                <a:lnTo>
                  <a:pt x="7872" y="5271"/>
                </a:lnTo>
                <a:cubicBezTo>
                  <a:pt x="7802" y="5175"/>
                  <a:pt x="7761" y="5056"/>
                  <a:pt x="7761" y="4928"/>
                </a:cubicBezTo>
                <a:cubicBezTo>
                  <a:pt x="7761" y="4767"/>
                  <a:pt x="7827" y="4621"/>
                  <a:pt x="7933" y="4515"/>
                </a:cubicBezTo>
                <a:cubicBezTo>
                  <a:pt x="7966" y="4481"/>
                  <a:pt x="8004" y="4452"/>
                  <a:pt x="8044" y="4428"/>
                </a:cubicBezTo>
                <a:lnTo>
                  <a:pt x="7844" y="3996"/>
                </a:lnTo>
                <a:cubicBezTo>
                  <a:pt x="7780" y="4020"/>
                  <a:pt x="7711" y="4033"/>
                  <a:pt x="7638" y="4033"/>
                </a:cubicBezTo>
                <a:cubicBezTo>
                  <a:pt x="7477" y="4033"/>
                  <a:pt x="7331" y="3968"/>
                  <a:pt x="7225" y="3862"/>
                </a:cubicBezTo>
                <a:cubicBezTo>
                  <a:pt x="7172" y="3809"/>
                  <a:pt x="7130" y="3747"/>
                  <a:pt x="7100" y="3678"/>
                </a:cubicBezTo>
                <a:lnTo>
                  <a:pt x="5989" y="4111"/>
                </a:lnTo>
                <a:lnTo>
                  <a:pt x="4872" y="6260"/>
                </a:lnTo>
                <a:cubicBezTo>
                  <a:pt x="4912" y="6284"/>
                  <a:pt x="4948" y="6313"/>
                  <a:pt x="4981" y="6345"/>
                </a:cubicBezTo>
                <a:cubicBezTo>
                  <a:pt x="5039" y="6403"/>
                  <a:pt x="5084" y="6472"/>
                  <a:pt x="5114" y="6550"/>
                </a:cubicBezTo>
                <a:close/>
                <a:moveTo>
                  <a:pt x="4842" y="6242"/>
                </a:moveTo>
                <a:lnTo>
                  <a:pt x="5939" y="4130"/>
                </a:lnTo>
                <a:lnTo>
                  <a:pt x="5548" y="4282"/>
                </a:lnTo>
                <a:cubicBezTo>
                  <a:pt x="5553" y="4312"/>
                  <a:pt x="5555" y="4342"/>
                  <a:pt x="5555" y="4373"/>
                </a:cubicBezTo>
                <a:cubicBezTo>
                  <a:pt x="5555" y="4535"/>
                  <a:pt x="5490" y="4681"/>
                  <a:pt x="5384" y="4787"/>
                </a:cubicBezTo>
                <a:cubicBezTo>
                  <a:pt x="5278" y="4893"/>
                  <a:pt x="5132" y="4958"/>
                  <a:pt x="4971" y="4958"/>
                </a:cubicBezTo>
                <a:cubicBezTo>
                  <a:pt x="4945" y="4958"/>
                  <a:pt x="4921" y="4957"/>
                  <a:pt x="4896" y="4953"/>
                </a:cubicBezTo>
                <a:lnTo>
                  <a:pt x="4685" y="6186"/>
                </a:lnTo>
                <a:cubicBezTo>
                  <a:pt x="4741" y="6197"/>
                  <a:pt x="4793" y="6216"/>
                  <a:pt x="4842" y="6242"/>
                </a:cubicBezTo>
                <a:close/>
                <a:moveTo>
                  <a:pt x="4651" y="6180"/>
                </a:moveTo>
                <a:lnTo>
                  <a:pt x="4861" y="4948"/>
                </a:lnTo>
                <a:cubicBezTo>
                  <a:pt x="4744" y="4926"/>
                  <a:pt x="4638" y="4868"/>
                  <a:pt x="4557" y="4787"/>
                </a:cubicBezTo>
                <a:cubicBezTo>
                  <a:pt x="4451" y="4681"/>
                  <a:pt x="4386" y="4535"/>
                  <a:pt x="4386" y="4373"/>
                </a:cubicBezTo>
                <a:cubicBezTo>
                  <a:pt x="4386" y="4308"/>
                  <a:pt x="4396" y="4244"/>
                  <a:pt x="4416" y="4186"/>
                </a:cubicBezTo>
                <a:lnTo>
                  <a:pt x="3806" y="3814"/>
                </a:lnTo>
                <a:cubicBezTo>
                  <a:pt x="3784" y="3847"/>
                  <a:pt x="3759" y="3877"/>
                  <a:pt x="3732" y="3905"/>
                </a:cubicBezTo>
                <a:cubicBezTo>
                  <a:pt x="3626" y="4011"/>
                  <a:pt x="3480" y="4076"/>
                  <a:pt x="3318" y="4076"/>
                </a:cubicBezTo>
                <a:cubicBezTo>
                  <a:pt x="3195" y="4076"/>
                  <a:pt x="3081" y="4038"/>
                  <a:pt x="2987" y="3974"/>
                </a:cubicBezTo>
                <a:lnTo>
                  <a:pt x="2476" y="4938"/>
                </a:lnTo>
                <a:cubicBezTo>
                  <a:pt x="2512" y="4963"/>
                  <a:pt x="2536" y="5006"/>
                  <a:pt x="2536" y="5054"/>
                </a:cubicBezTo>
                <a:cubicBezTo>
                  <a:pt x="2536" y="5082"/>
                  <a:pt x="2528" y="5108"/>
                  <a:pt x="2514" y="5130"/>
                </a:cubicBezTo>
                <a:cubicBezTo>
                  <a:pt x="3039" y="5560"/>
                  <a:pt x="3565" y="5991"/>
                  <a:pt x="4090" y="6421"/>
                </a:cubicBezTo>
                <a:cubicBezTo>
                  <a:pt x="4109" y="6394"/>
                  <a:pt x="4130" y="6369"/>
                  <a:pt x="4154" y="6345"/>
                </a:cubicBezTo>
                <a:cubicBezTo>
                  <a:pt x="4260" y="6240"/>
                  <a:pt x="4406" y="6174"/>
                  <a:pt x="4567" y="6174"/>
                </a:cubicBezTo>
                <a:cubicBezTo>
                  <a:pt x="4596" y="6174"/>
                  <a:pt x="4623" y="6176"/>
                  <a:pt x="4651" y="6180"/>
                </a:cubicBezTo>
                <a:close/>
                <a:moveTo>
                  <a:pt x="4931" y="6395"/>
                </a:moveTo>
                <a:cubicBezTo>
                  <a:pt x="4838" y="6302"/>
                  <a:pt x="4710" y="6245"/>
                  <a:pt x="4567" y="6245"/>
                </a:cubicBezTo>
                <a:cubicBezTo>
                  <a:pt x="4425" y="6245"/>
                  <a:pt x="4297" y="6302"/>
                  <a:pt x="4204" y="6395"/>
                </a:cubicBezTo>
                <a:cubicBezTo>
                  <a:pt x="4111" y="6488"/>
                  <a:pt x="4053" y="6617"/>
                  <a:pt x="4053" y="6759"/>
                </a:cubicBezTo>
                <a:cubicBezTo>
                  <a:pt x="4053" y="6901"/>
                  <a:pt x="4111" y="7030"/>
                  <a:pt x="4204" y="7123"/>
                </a:cubicBezTo>
                <a:cubicBezTo>
                  <a:pt x="4297" y="7216"/>
                  <a:pt x="4425" y="7273"/>
                  <a:pt x="4567" y="7273"/>
                </a:cubicBezTo>
                <a:cubicBezTo>
                  <a:pt x="4710" y="7273"/>
                  <a:pt x="4838" y="7216"/>
                  <a:pt x="4931" y="7123"/>
                </a:cubicBezTo>
                <a:cubicBezTo>
                  <a:pt x="5024" y="7030"/>
                  <a:pt x="5082" y="6901"/>
                  <a:pt x="5082" y="6759"/>
                </a:cubicBezTo>
                <a:cubicBezTo>
                  <a:pt x="5082" y="6617"/>
                  <a:pt x="5024" y="6488"/>
                  <a:pt x="4931" y="6395"/>
                </a:cubicBezTo>
                <a:close/>
                <a:moveTo>
                  <a:pt x="7217" y="7538"/>
                </a:moveTo>
                <a:cubicBezTo>
                  <a:pt x="7217" y="7538"/>
                  <a:pt x="7122" y="7670"/>
                  <a:pt x="7044" y="7715"/>
                </a:cubicBezTo>
                <a:lnTo>
                  <a:pt x="7044" y="7378"/>
                </a:lnTo>
                <a:lnTo>
                  <a:pt x="7292" y="7378"/>
                </a:lnTo>
                <a:cubicBezTo>
                  <a:pt x="7277" y="7430"/>
                  <a:pt x="7254" y="7486"/>
                  <a:pt x="7217" y="7538"/>
                </a:cubicBezTo>
                <a:close/>
                <a:moveTo>
                  <a:pt x="7037" y="7720"/>
                </a:moveTo>
                <a:cubicBezTo>
                  <a:pt x="7035" y="7721"/>
                  <a:pt x="7033" y="7722"/>
                  <a:pt x="7031" y="7722"/>
                </a:cubicBezTo>
                <a:lnTo>
                  <a:pt x="7031" y="7722"/>
                </a:lnTo>
                <a:cubicBezTo>
                  <a:pt x="7000" y="7708"/>
                  <a:pt x="6966" y="7678"/>
                  <a:pt x="6935" y="7646"/>
                </a:cubicBezTo>
                <a:cubicBezTo>
                  <a:pt x="6963" y="7674"/>
                  <a:pt x="6998" y="7702"/>
                  <a:pt x="7037" y="7720"/>
                </a:cubicBezTo>
                <a:close/>
                <a:moveTo>
                  <a:pt x="6893" y="7599"/>
                </a:moveTo>
                <a:cubicBezTo>
                  <a:pt x="6864" y="7565"/>
                  <a:pt x="6845" y="7537"/>
                  <a:pt x="6845" y="7537"/>
                </a:cubicBezTo>
                <a:cubicBezTo>
                  <a:pt x="6824" y="7508"/>
                  <a:pt x="6807" y="7477"/>
                  <a:pt x="6793" y="7445"/>
                </a:cubicBezTo>
                <a:cubicBezTo>
                  <a:pt x="6811" y="7484"/>
                  <a:pt x="6835" y="7520"/>
                  <a:pt x="6863" y="7558"/>
                </a:cubicBezTo>
                <a:cubicBezTo>
                  <a:pt x="6863" y="7558"/>
                  <a:pt x="6874" y="7575"/>
                  <a:pt x="6893" y="7599"/>
                </a:cubicBezTo>
                <a:close/>
                <a:moveTo>
                  <a:pt x="6773" y="7390"/>
                </a:moveTo>
                <a:cubicBezTo>
                  <a:pt x="6737" y="7277"/>
                  <a:pt x="6743" y="7180"/>
                  <a:pt x="6743" y="7180"/>
                </a:cubicBezTo>
                <a:cubicBezTo>
                  <a:pt x="6952" y="7189"/>
                  <a:pt x="7031" y="7075"/>
                  <a:pt x="7031" y="7075"/>
                </a:cubicBezTo>
                <a:lnTo>
                  <a:pt x="7031" y="7075"/>
                </a:lnTo>
                <a:cubicBezTo>
                  <a:pt x="7031" y="7075"/>
                  <a:pt x="7035" y="7081"/>
                  <a:pt x="7044" y="7091"/>
                </a:cubicBezTo>
                <a:lnTo>
                  <a:pt x="7044" y="7378"/>
                </a:lnTo>
                <a:lnTo>
                  <a:pt x="6770" y="7378"/>
                </a:lnTo>
                <a:cubicBezTo>
                  <a:pt x="6771" y="7382"/>
                  <a:pt x="6772" y="7386"/>
                  <a:pt x="6773" y="7390"/>
                </a:cubicBezTo>
                <a:close/>
                <a:moveTo>
                  <a:pt x="7358" y="7150"/>
                </a:moveTo>
                <a:cubicBezTo>
                  <a:pt x="7121" y="7161"/>
                  <a:pt x="7031" y="7030"/>
                  <a:pt x="7031" y="7030"/>
                </a:cubicBezTo>
                <a:lnTo>
                  <a:pt x="7031" y="7030"/>
                </a:lnTo>
                <a:cubicBezTo>
                  <a:pt x="7031" y="7030"/>
                  <a:pt x="6941" y="7161"/>
                  <a:pt x="6704" y="7150"/>
                </a:cubicBezTo>
                <a:cubicBezTo>
                  <a:pt x="6704" y="7150"/>
                  <a:pt x="6690" y="7377"/>
                  <a:pt x="6819" y="7557"/>
                </a:cubicBezTo>
                <a:cubicBezTo>
                  <a:pt x="6819" y="7557"/>
                  <a:pt x="6940" y="7726"/>
                  <a:pt x="7031" y="7767"/>
                </a:cubicBezTo>
                <a:lnTo>
                  <a:pt x="7031" y="7767"/>
                </a:lnTo>
                <a:cubicBezTo>
                  <a:pt x="7122" y="7726"/>
                  <a:pt x="7242" y="7557"/>
                  <a:pt x="7242" y="7557"/>
                </a:cubicBezTo>
                <a:cubicBezTo>
                  <a:pt x="7372" y="7377"/>
                  <a:pt x="7358" y="7150"/>
                  <a:pt x="7358" y="7150"/>
                </a:cubicBezTo>
                <a:close/>
                <a:moveTo>
                  <a:pt x="7031" y="6814"/>
                </a:moveTo>
                <a:cubicBezTo>
                  <a:pt x="7192" y="6814"/>
                  <a:pt x="7338" y="6879"/>
                  <a:pt x="7444" y="6985"/>
                </a:cubicBezTo>
                <a:cubicBezTo>
                  <a:pt x="7488" y="7029"/>
                  <a:pt x="7526" y="7080"/>
                  <a:pt x="7554" y="7136"/>
                </a:cubicBezTo>
                <a:lnTo>
                  <a:pt x="8225" y="6808"/>
                </a:lnTo>
                <a:cubicBezTo>
                  <a:pt x="8207" y="6752"/>
                  <a:pt x="8198" y="6693"/>
                  <a:pt x="8198" y="6632"/>
                </a:cubicBezTo>
                <a:cubicBezTo>
                  <a:pt x="8198" y="6471"/>
                  <a:pt x="8263" y="6324"/>
                  <a:pt x="8369" y="6218"/>
                </a:cubicBezTo>
                <a:cubicBezTo>
                  <a:pt x="8436" y="6151"/>
                  <a:pt x="8520" y="6100"/>
                  <a:pt x="8613" y="6072"/>
                </a:cubicBezTo>
                <a:lnTo>
                  <a:pt x="8513" y="5721"/>
                </a:lnTo>
                <a:lnTo>
                  <a:pt x="7362" y="6049"/>
                </a:lnTo>
                <a:cubicBezTo>
                  <a:pt x="7109" y="6292"/>
                  <a:pt x="6857" y="6535"/>
                  <a:pt x="6604" y="6778"/>
                </a:cubicBezTo>
                <a:cubicBezTo>
                  <a:pt x="6622" y="6802"/>
                  <a:pt x="6632" y="6831"/>
                  <a:pt x="6632" y="6863"/>
                </a:cubicBezTo>
                <a:cubicBezTo>
                  <a:pt x="6632" y="6896"/>
                  <a:pt x="6621" y="6926"/>
                  <a:pt x="6603" y="6950"/>
                </a:cubicBezTo>
                <a:lnTo>
                  <a:pt x="6627" y="6975"/>
                </a:lnTo>
                <a:cubicBezTo>
                  <a:pt x="6732" y="6875"/>
                  <a:pt x="6874" y="6814"/>
                  <a:pt x="7031" y="6814"/>
                </a:cubicBezTo>
                <a:close/>
                <a:moveTo>
                  <a:pt x="6974" y="7981"/>
                </a:moveTo>
                <a:cubicBezTo>
                  <a:pt x="6835" y="7967"/>
                  <a:pt x="6710" y="7905"/>
                  <a:pt x="6617" y="7812"/>
                </a:cubicBezTo>
                <a:cubicBezTo>
                  <a:pt x="6579" y="7774"/>
                  <a:pt x="6546" y="7730"/>
                  <a:pt x="6519" y="7683"/>
                </a:cubicBezTo>
                <a:lnTo>
                  <a:pt x="4922" y="8466"/>
                </a:lnTo>
                <a:cubicBezTo>
                  <a:pt x="4926" y="8478"/>
                  <a:pt x="4929" y="8491"/>
                  <a:pt x="4930" y="8504"/>
                </a:cubicBezTo>
                <a:lnTo>
                  <a:pt x="6895" y="8640"/>
                </a:lnTo>
                <a:lnTo>
                  <a:pt x="6974" y="7981"/>
                </a:lnTo>
                <a:close/>
                <a:moveTo>
                  <a:pt x="7394" y="7035"/>
                </a:moveTo>
                <a:cubicBezTo>
                  <a:pt x="7301" y="6942"/>
                  <a:pt x="7173" y="6884"/>
                  <a:pt x="7031" y="6884"/>
                </a:cubicBezTo>
                <a:cubicBezTo>
                  <a:pt x="6889" y="6884"/>
                  <a:pt x="6760" y="6942"/>
                  <a:pt x="6667" y="7035"/>
                </a:cubicBezTo>
                <a:cubicBezTo>
                  <a:pt x="6574" y="7128"/>
                  <a:pt x="6516" y="7256"/>
                  <a:pt x="6516" y="7398"/>
                </a:cubicBezTo>
                <a:cubicBezTo>
                  <a:pt x="6516" y="7541"/>
                  <a:pt x="6574" y="7669"/>
                  <a:pt x="6667" y="7762"/>
                </a:cubicBezTo>
                <a:cubicBezTo>
                  <a:pt x="6760" y="7855"/>
                  <a:pt x="6889" y="7913"/>
                  <a:pt x="7031" y="7913"/>
                </a:cubicBezTo>
                <a:cubicBezTo>
                  <a:pt x="7173" y="7913"/>
                  <a:pt x="7301" y="7855"/>
                  <a:pt x="7394" y="7762"/>
                </a:cubicBezTo>
                <a:cubicBezTo>
                  <a:pt x="7488" y="7669"/>
                  <a:pt x="7545" y="7541"/>
                  <a:pt x="7545" y="7398"/>
                </a:cubicBezTo>
                <a:cubicBezTo>
                  <a:pt x="7545" y="7256"/>
                  <a:pt x="7488" y="7128"/>
                  <a:pt x="7394" y="7035"/>
                </a:cubicBezTo>
                <a:close/>
                <a:moveTo>
                  <a:pt x="9107" y="6418"/>
                </a:moveTo>
                <a:lnTo>
                  <a:pt x="9107" y="6373"/>
                </a:lnTo>
                <a:cubicBezTo>
                  <a:pt x="9106" y="6315"/>
                  <a:pt x="9059" y="6268"/>
                  <a:pt x="9002" y="6269"/>
                </a:cubicBezTo>
                <a:lnTo>
                  <a:pt x="8559" y="6271"/>
                </a:lnTo>
                <a:cubicBezTo>
                  <a:pt x="8502" y="6272"/>
                  <a:pt x="8455" y="6319"/>
                  <a:pt x="8455" y="6377"/>
                </a:cubicBezTo>
                <a:lnTo>
                  <a:pt x="8456" y="6422"/>
                </a:lnTo>
                <a:lnTo>
                  <a:pt x="9107" y="6418"/>
                </a:lnTo>
                <a:close/>
                <a:moveTo>
                  <a:pt x="8856" y="6545"/>
                </a:moveTo>
                <a:cubicBezTo>
                  <a:pt x="8844" y="6540"/>
                  <a:pt x="8831" y="6536"/>
                  <a:pt x="8817" y="6534"/>
                </a:cubicBezTo>
                <a:cubicBezTo>
                  <a:pt x="8806" y="6532"/>
                  <a:pt x="8795" y="6531"/>
                  <a:pt x="8783" y="6531"/>
                </a:cubicBezTo>
                <a:cubicBezTo>
                  <a:pt x="8772" y="6531"/>
                  <a:pt x="8761" y="6532"/>
                  <a:pt x="8750" y="6534"/>
                </a:cubicBezTo>
                <a:cubicBezTo>
                  <a:pt x="8736" y="6537"/>
                  <a:pt x="8723" y="6540"/>
                  <a:pt x="8711" y="6546"/>
                </a:cubicBezTo>
                <a:cubicBezTo>
                  <a:pt x="8646" y="6574"/>
                  <a:pt x="8600" y="6638"/>
                  <a:pt x="8600" y="6713"/>
                </a:cubicBezTo>
                <a:cubicBezTo>
                  <a:pt x="8601" y="6813"/>
                  <a:pt x="8684" y="6894"/>
                  <a:pt x="8786" y="6893"/>
                </a:cubicBezTo>
                <a:cubicBezTo>
                  <a:pt x="8876" y="6892"/>
                  <a:pt x="8951" y="6828"/>
                  <a:pt x="8966" y="6743"/>
                </a:cubicBezTo>
                <a:lnTo>
                  <a:pt x="8913" y="6743"/>
                </a:lnTo>
                <a:cubicBezTo>
                  <a:pt x="8913" y="6743"/>
                  <a:pt x="8912" y="6743"/>
                  <a:pt x="8912" y="6743"/>
                </a:cubicBezTo>
                <a:cubicBezTo>
                  <a:pt x="8898" y="6799"/>
                  <a:pt x="8847" y="6840"/>
                  <a:pt x="8785" y="6841"/>
                </a:cubicBezTo>
                <a:cubicBezTo>
                  <a:pt x="8713" y="6841"/>
                  <a:pt x="8654" y="6784"/>
                  <a:pt x="8653" y="6713"/>
                </a:cubicBezTo>
                <a:cubicBezTo>
                  <a:pt x="8653" y="6642"/>
                  <a:pt x="8711" y="6584"/>
                  <a:pt x="8784" y="6583"/>
                </a:cubicBezTo>
                <a:cubicBezTo>
                  <a:pt x="8845" y="6583"/>
                  <a:pt x="8897" y="6624"/>
                  <a:pt x="8912" y="6679"/>
                </a:cubicBezTo>
                <a:cubicBezTo>
                  <a:pt x="8912" y="6679"/>
                  <a:pt x="8912" y="6679"/>
                  <a:pt x="8913" y="6679"/>
                </a:cubicBezTo>
                <a:lnTo>
                  <a:pt x="8966" y="6679"/>
                </a:lnTo>
                <a:cubicBezTo>
                  <a:pt x="8954" y="6618"/>
                  <a:pt x="8912" y="6568"/>
                  <a:pt x="8856" y="6545"/>
                </a:cubicBezTo>
                <a:close/>
                <a:moveTo>
                  <a:pt x="8784" y="6905"/>
                </a:moveTo>
                <a:cubicBezTo>
                  <a:pt x="8678" y="6906"/>
                  <a:pt x="8590" y="6820"/>
                  <a:pt x="8590" y="6713"/>
                </a:cubicBezTo>
                <a:cubicBezTo>
                  <a:pt x="8589" y="6606"/>
                  <a:pt x="8675" y="6519"/>
                  <a:pt x="8782" y="6519"/>
                </a:cubicBezTo>
                <a:cubicBezTo>
                  <a:pt x="8889" y="6518"/>
                  <a:pt x="8976" y="6604"/>
                  <a:pt x="8977" y="6711"/>
                </a:cubicBezTo>
                <a:cubicBezTo>
                  <a:pt x="8977" y="6818"/>
                  <a:pt x="8891" y="6905"/>
                  <a:pt x="8784" y="6905"/>
                </a:cubicBezTo>
                <a:close/>
                <a:moveTo>
                  <a:pt x="8456" y="6432"/>
                </a:moveTo>
                <a:lnTo>
                  <a:pt x="8459" y="6892"/>
                </a:lnTo>
                <a:cubicBezTo>
                  <a:pt x="8459" y="6949"/>
                  <a:pt x="8506" y="6996"/>
                  <a:pt x="8564" y="6995"/>
                </a:cubicBezTo>
                <a:lnTo>
                  <a:pt x="9006" y="6993"/>
                </a:lnTo>
                <a:cubicBezTo>
                  <a:pt x="9064" y="6992"/>
                  <a:pt x="9110" y="6945"/>
                  <a:pt x="9110" y="6888"/>
                </a:cubicBezTo>
                <a:lnTo>
                  <a:pt x="9107" y="6428"/>
                </a:lnTo>
                <a:lnTo>
                  <a:pt x="8456" y="6432"/>
                </a:lnTo>
                <a:close/>
                <a:moveTo>
                  <a:pt x="8783" y="6047"/>
                </a:moveTo>
                <a:cubicBezTo>
                  <a:pt x="8944" y="6047"/>
                  <a:pt x="9090" y="6113"/>
                  <a:pt x="9196" y="6218"/>
                </a:cubicBezTo>
                <a:cubicBezTo>
                  <a:pt x="9221" y="6243"/>
                  <a:pt x="9243" y="6270"/>
                  <a:pt x="9263" y="6298"/>
                </a:cubicBezTo>
                <a:lnTo>
                  <a:pt x="10116" y="5880"/>
                </a:lnTo>
                <a:cubicBezTo>
                  <a:pt x="10111" y="5866"/>
                  <a:pt x="10108" y="5850"/>
                  <a:pt x="10108" y="5834"/>
                </a:cubicBezTo>
                <a:cubicBezTo>
                  <a:pt x="10108" y="5756"/>
                  <a:pt x="10172" y="5692"/>
                  <a:pt x="10250" y="5692"/>
                </a:cubicBezTo>
                <a:cubicBezTo>
                  <a:pt x="10284" y="5692"/>
                  <a:pt x="10315" y="5704"/>
                  <a:pt x="10339" y="5724"/>
                </a:cubicBezTo>
                <a:lnTo>
                  <a:pt x="10757" y="5322"/>
                </a:lnTo>
                <a:cubicBezTo>
                  <a:pt x="10701" y="5265"/>
                  <a:pt x="10656" y="5197"/>
                  <a:pt x="10627" y="5121"/>
                </a:cubicBezTo>
                <a:lnTo>
                  <a:pt x="8547" y="5712"/>
                </a:lnTo>
                <a:lnTo>
                  <a:pt x="8647" y="6063"/>
                </a:lnTo>
                <a:cubicBezTo>
                  <a:pt x="8691" y="6053"/>
                  <a:pt x="8736" y="6047"/>
                  <a:pt x="8783" y="6047"/>
                </a:cubicBezTo>
                <a:close/>
                <a:moveTo>
                  <a:pt x="9146" y="6268"/>
                </a:moveTo>
                <a:cubicBezTo>
                  <a:pt x="9053" y="6175"/>
                  <a:pt x="8925" y="6118"/>
                  <a:pt x="8783" y="6118"/>
                </a:cubicBezTo>
                <a:cubicBezTo>
                  <a:pt x="8641" y="6118"/>
                  <a:pt x="8512" y="6175"/>
                  <a:pt x="8419" y="6268"/>
                </a:cubicBezTo>
                <a:cubicBezTo>
                  <a:pt x="8326" y="6361"/>
                  <a:pt x="8268" y="6490"/>
                  <a:pt x="8268" y="6632"/>
                </a:cubicBezTo>
                <a:cubicBezTo>
                  <a:pt x="8268" y="6774"/>
                  <a:pt x="8326" y="6903"/>
                  <a:pt x="8419" y="6996"/>
                </a:cubicBezTo>
                <a:cubicBezTo>
                  <a:pt x="8512" y="7089"/>
                  <a:pt x="8641" y="7146"/>
                  <a:pt x="8783" y="7146"/>
                </a:cubicBezTo>
                <a:cubicBezTo>
                  <a:pt x="8925" y="7146"/>
                  <a:pt x="9053" y="7089"/>
                  <a:pt x="9146" y="6996"/>
                </a:cubicBezTo>
                <a:cubicBezTo>
                  <a:pt x="9240" y="6903"/>
                  <a:pt x="9297" y="6774"/>
                  <a:pt x="9297" y="6632"/>
                </a:cubicBezTo>
                <a:cubicBezTo>
                  <a:pt x="9297" y="6490"/>
                  <a:pt x="9240" y="6361"/>
                  <a:pt x="9146" y="6268"/>
                </a:cubicBezTo>
                <a:close/>
                <a:moveTo>
                  <a:pt x="11272" y="5129"/>
                </a:moveTo>
                <a:cubicBezTo>
                  <a:pt x="11272" y="5128"/>
                  <a:pt x="11271" y="5128"/>
                  <a:pt x="11271" y="5128"/>
                </a:cubicBezTo>
                <a:lnTo>
                  <a:pt x="11246" y="5128"/>
                </a:lnTo>
                <a:cubicBezTo>
                  <a:pt x="11245" y="5128"/>
                  <a:pt x="11245" y="5128"/>
                  <a:pt x="11245" y="5129"/>
                </a:cubicBezTo>
                <a:lnTo>
                  <a:pt x="11245" y="5148"/>
                </a:lnTo>
                <a:cubicBezTo>
                  <a:pt x="11245" y="5149"/>
                  <a:pt x="11245" y="5149"/>
                  <a:pt x="11246" y="5149"/>
                </a:cubicBezTo>
                <a:lnTo>
                  <a:pt x="11270" y="5149"/>
                </a:lnTo>
                <a:cubicBezTo>
                  <a:pt x="11271" y="5149"/>
                  <a:pt x="11272" y="5149"/>
                  <a:pt x="11272" y="5148"/>
                </a:cubicBezTo>
                <a:lnTo>
                  <a:pt x="11272" y="5129"/>
                </a:lnTo>
                <a:close/>
                <a:moveTo>
                  <a:pt x="11324" y="5129"/>
                </a:moveTo>
                <a:cubicBezTo>
                  <a:pt x="11324" y="5129"/>
                  <a:pt x="11323" y="5128"/>
                  <a:pt x="11322" y="5128"/>
                </a:cubicBezTo>
                <a:lnTo>
                  <a:pt x="11298" y="5128"/>
                </a:lnTo>
                <a:cubicBezTo>
                  <a:pt x="11297" y="5128"/>
                  <a:pt x="11297" y="5128"/>
                  <a:pt x="11297" y="5129"/>
                </a:cubicBezTo>
                <a:lnTo>
                  <a:pt x="11297" y="5148"/>
                </a:lnTo>
                <a:cubicBezTo>
                  <a:pt x="11297" y="5149"/>
                  <a:pt x="11297" y="5150"/>
                  <a:pt x="11298" y="5150"/>
                </a:cubicBezTo>
                <a:lnTo>
                  <a:pt x="11322" y="5150"/>
                </a:lnTo>
                <a:cubicBezTo>
                  <a:pt x="11323" y="5150"/>
                  <a:pt x="11323" y="5149"/>
                  <a:pt x="11323" y="5149"/>
                </a:cubicBezTo>
                <a:lnTo>
                  <a:pt x="11324" y="5129"/>
                </a:lnTo>
                <a:close/>
                <a:moveTo>
                  <a:pt x="11375" y="5130"/>
                </a:moveTo>
                <a:cubicBezTo>
                  <a:pt x="11375" y="5129"/>
                  <a:pt x="11375" y="5128"/>
                  <a:pt x="11374" y="5128"/>
                </a:cubicBezTo>
                <a:lnTo>
                  <a:pt x="11350" y="5128"/>
                </a:lnTo>
                <a:cubicBezTo>
                  <a:pt x="11349" y="5128"/>
                  <a:pt x="11349" y="5129"/>
                  <a:pt x="11349" y="5129"/>
                </a:cubicBezTo>
                <a:lnTo>
                  <a:pt x="11349" y="5149"/>
                </a:lnTo>
                <a:cubicBezTo>
                  <a:pt x="11349" y="5149"/>
                  <a:pt x="11349" y="5150"/>
                  <a:pt x="11350" y="5150"/>
                </a:cubicBezTo>
                <a:lnTo>
                  <a:pt x="11374" y="5150"/>
                </a:lnTo>
                <a:cubicBezTo>
                  <a:pt x="11375" y="5150"/>
                  <a:pt x="11375" y="5149"/>
                  <a:pt x="11375" y="5149"/>
                </a:cubicBezTo>
                <a:lnTo>
                  <a:pt x="11375" y="5130"/>
                </a:lnTo>
                <a:close/>
                <a:moveTo>
                  <a:pt x="11415" y="4722"/>
                </a:moveTo>
                <a:cubicBezTo>
                  <a:pt x="11415" y="4711"/>
                  <a:pt x="11406" y="4702"/>
                  <a:pt x="11395" y="4702"/>
                </a:cubicBezTo>
                <a:lnTo>
                  <a:pt x="10953" y="4700"/>
                </a:lnTo>
                <a:cubicBezTo>
                  <a:pt x="10943" y="4700"/>
                  <a:pt x="10934" y="4708"/>
                  <a:pt x="10934" y="4719"/>
                </a:cubicBezTo>
                <a:lnTo>
                  <a:pt x="10932" y="5068"/>
                </a:lnTo>
                <a:cubicBezTo>
                  <a:pt x="10932" y="5079"/>
                  <a:pt x="10940" y="5088"/>
                  <a:pt x="10951" y="5088"/>
                </a:cubicBezTo>
                <a:lnTo>
                  <a:pt x="11393" y="5091"/>
                </a:lnTo>
                <a:cubicBezTo>
                  <a:pt x="11404" y="5091"/>
                  <a:pt x="11413" y="5082"/>
                  <a:pt x="11413" y="5071"/>
                </a:cubicBezTo>
                <a:lnTo>
                  <a:pt x="11415" y="4722"/>
                </a:lnTo>
                <a:close/>
                <a:moveTo>
                  <a:pt x="11299" y="4504"/>
                </a:moveTo>
                <a:cubicBezTo>
                  <a:pt x="11309" y="4510"/>
                  <a:pt x="11322" y="4507"/>
                  <a:pt x="11327" y="4497"/>
                </a:cubicBezTo>
                <a:cubicBezTo>
                  <a:pt x="11333" y="4487"/>
                  <a:pt x="11330" y="4475"/>
                  <a:pt x="11320" y="4469"/>
                </a:cubicBezTo>
                <a:cubicBezTo>
                  <a:pt x="11310" y="4463"/>
                  <a:pt x="11298" y="4467"/>
                  <a:pt x="11292" y="4476"/>
                </a:cubicBezTo>
                <a:cubicBezTo>
                  <a:pt x="11286" y="4486"/>
                  <a:pt x="11290" y="4499"/>
                  <a:pt x="11299" y="4504"/>
                </a:cubicBezTo>
                <a:close/>
                <a:moveTo>
                  <a:pt x="11052" y="4503"/>
                </a:moveTo>
                <a:cubicBezTo>
                  <a:pt x="11061" y="4497"/>
                  <a:pt x="11065" y="4485"/>
                  <a:pt x="11059" y="4475"/>
                </a:cubicBezTo>
                <a:cubicBezTo>
                  <a:pt x="11054" y="4465"/>
                  <a:pt x="11041" y="4462"/>
                  <a:pt x="11031" y="4468"/>
                </a:cubicBezTo>
                <a:cubicBezTo>
                  <a:pt x="11022" y="4473"/>
                  <a:pt x="11018" y="4485"/>
                  <a:pt x="11024" y="4495"/>
                </a:cubicBezTo>
                <a:cubicBezTo>
                  <a:pt x="11029" y="4505"/>
                  <a:pt x="11042" y="4508"/>
                  <a:pt x="11052" y="4503"/>
                </a:cubicBezTo>
                <a:close/>
                <a:moveTo>
                  <a:pt x="11496" y="4663"/>
                </a:moveTo>
                <a:lnTo>
                  <a:pt x="11493" y="5214"/>
                </a:lnTo>
                <a:cubicBezTo>
                  <a:pt x="11493" y="5229"/>
                  <a:pt x="11481" y="5241"/>
                  <a:pt x="11465" y="5241"/>
                </a:cubicBezTo>
                <a:lnTo>
                  <a:pt x="10878" y="5238"/>
                </a:lnTo>
                <a:cubicBezTo>
                  <a:pt x="10862" y="5238"/>
                  <a:pt x="10850" y="5226"/>
                  <a:pt x="10850" y="5210"/>
                </a:cubicBezTo>
                <a:lnTo>
                  <a:pt x="10853" y="4660"/>
                </a:lnTo>
                <a:cubicBezTo>
                  <a:pt x="10853" y="4644"/>
                  <a:pt x="10866" y="4632"/>
                  <a:pt x="10881" y="4632"/>
                </a:cubicBezTo>
                <a:lnTo>
                  <a:pt x="11115" y="4633"/>
                </a:lnTo>
                <a:lnTo>
                  <a:pt x="11046" y="4512"/>
                </a:lnTo>
                <a:lnTo>
                  <a:pt x="11063" y="4503"/>
                </a:lnTo>
                <a:lnTo>
                  <a:pt x="11137" y="4634"/>
                </a:lnTo>
                <a:lnTo>
                  <a:pt x="11213" y="4634"/>
                </a:lnTo>
                <a:lnTo>
                  <a:pt x="11288" y="4504"/>
                </a:lnTo>
                <a:lnTo>
                  <a:pt x="11305" y="4514"/>
                </a:lnTo>
                <a:lnTo>
                  <a:pt x="11235" y="4634"/>
                </a:lnTo>
                <a:lnTo>
                  <a:pt x="11469" y="4635"/>
                </a:lnTo>
                <a:cubicBezTo>
                  <a:pt x="11484" y="4635"/>
                  <a:pt x="11496" y="4648"/>
                  <a:pt x="11496" y="4663"/>
                </a:cubicBezTo>
                <a:close/>
                <a:moveTo>
                  <a:pt x="11264" y="4333"/>
                </a:moveTo>
                <a:lnTo>
                  <a:pt x="11361" y="3788"/>
                </a:lnTo>
                <a:cubicBezTo>
                  <a:pt x="11328" y="3778"/>
                  <a:pt x="11300" y="3757"/>
                  <a:pt x="11282" y="3728"/>
                </a:cubicBezTo>
                <a:lnTo>
                  <a:pt x="8922" y="4823"/>
                </a:lnTo>
                <a:cubicBezTo>
                  <a:pt x="8928" y="4857"/>
                  <a:pt x="8931" y="4892"/>
                  <a:pt x="8931" y="4928"/>
                </a:cubicBezTo>
                <a:cubicBezTo>
                  <a:pt x="8931" y="5090"/>
                  <a:pt x="8866" y="5236"/>
                  <a:pt x="8760" y="5342"/>
                </a:cubicBezTo>
                <a:cubicBezTo>
                  <a:pt x="8686" y="5416"/>
                  <a:pt x="8591" y="5471"/>
                  <a:pt x="8486" y="5497"/>
                </a:cubicBezTo>
                <a:lnTo>
                  <a:pt x="8538" y="5678"/>
                </a:lnTo>
                <a:lnTo>
                  <a:pt x="10615" y="5087"/>
                </a:lnTo>
                <a:cubicBezTo>
                  <a:pt x="10598" y="5032"/>
                  <a:pt x="10588" y="4972"/>
                  <a:pt x="10588" y="4910"/>
                </a:cubicBezTo>
                <a:cubicBezTo>
                  <a:pt x="10588" y="4749"/>
                  <a:pt x="10654" y="4603"/>
                  <a:pt x="10759" y="4497"/>
                </a:cubicBezTo>
                <a:cubicBezTo>
                  <a:pt x="10865" y="4391"/>
                  <a:pt x="11012" y="4326"/>
                  <a:pt x="11173" y="4326"/>
                </a:cubicBezTo>
                <a:cubicBezTo>
                  <a:pt x="11204" y="4326"/>
                  <a:pt x="11234" y="4328"/>
                  <a:pt x="11264" y="4333"/>
                </a:cubicBezTo>
                <a:close/>
                <a:moveTo>
                  <a:pt x="11537" y="4547"/>
                </a:moveTo>
                <a:cubicBezTo>
                  <a:pt x="11444" y="4454"/>
                  <a:pt x="11315" y="4396"/>
                  <a:pt x="11173" y="4396"/>
                </a:cubicBezTo>
                <a:cubicBezTo>
                  <a:pt x="11031" y="4396"/>
                  <a:pt x="10902" y="4454"/>
                  <a:pt x="10809" y="4547"/>
                </a:cubicBezTo>
                <a:cubicBezTo>
                  <a:pt x="10716" y="4640"/>
                  <a:pt x="10659" y="4768"/>
                  <a:pt x="10659" y="4910"/>
                </a:cubicBezTo>
                <a:cubicBezTo>
                  <a:pt x="10659" y="5053"/>
                  <a:pt x="10716" y="5181"/>
                  <a:pt x="10809" y="5274"/>
                </a:cubicBezTo>
                <a:cubicBezTo>
                  <a:pt x="10902" y="5367"/>
                  <a:pt x="11031" y="5425"/>
                  <a:pt x="11173" y="5425"/>
                </a:cubicBezTo>
                <a:cubicBezTo>
                  <a:pt x="11315" y="5425"/>
                  <a:pt x="11444" y="5367"/>
                  <a:pt x="11537" y="5274"/>
                </a:cubicBezTo>
                <a:cubicBezTo>
                  <a:pt x="11630" y="5181"/>
                  <a:pt x="11687" y="5053"/>
                  <a:pt x="11687" y="4910"/>
                </a:cubicBezTo>
                <a:cubicBezTo>
                  <a:pt x="11687" y="4768"/>
                  <a:pt x="11630" y="4640"/>
                  <a:pt x="11537" y="4547"/>
                </a:cubicBezTo>
                <a:close/>
                <a:moveTo>
                  <a:pt x="8022" y="4674"/>
                </a:moveTo>
                <a:cubicBezTo>
                  <a:pt x="8012" y="4687"/>
                  <a:pt x="8016" y="4700"/>
                  <a:pt x="8021" y="4713"/>
                </a:cubicBezTo>
                <a:cubicBezTo>
                  <a:pt x="8085" y="4690"/>
                  <a:pt x="8171" y="4774"/>
                  <a:pt x="8159" y="4837"/>
                </a:cubicBezTo>
                <a:cubicBezTo>
                  <a:pt x="8172" y="4836"/>
                  <a:pt x="8184" y="4842"/>
                  <a:pt x="8196" y="4830"/>
                </a:cubicBezTo>
                <a:cubicBezTo>
                  <a:pt x="8208" y="4752"/>
                  <a:pt x="8098" y="4653"/>
                  <a:pt x="8022" y="4674"/>
                </a:cubicBezTo>
                <a:close/>
                <a:moveTo>
                  <a:pt x="8026" y="4601"/>
                </a:moveTo>
                <a:cubicBezTo>
                  <a:pt x="8012" y="4620"/>
                  <a:pt x="8017" y="4638"/>
                  <a:pt x="8025" y="4657"/>
                </a:cubicBezTo>
                <a:cubicBezTo>
                  <a:pt x="8116" y="4624"/>
                  <a:pt x="8239" y="4744"/>
                  <a:pt x="8222" y="4834"/>
                </a:cubicBezTo>
                <a:cubicBezTo>
                  <a:pt x="8239" y="4832"/>
                  <a:pt x="8257" y="4841"/>
                  <a:pt x="8274" y="4824"/>
                </a:cubicBezTo>
                <a:cubicBezTo>
                  <a:pt x="8291" y="4713"/>
                  <a:pt x="8135" y="4572"/>
                  <a:pt x="8026" y="4601"/>
                </a:cubicBezTo>
                <a:close/>
                <a:moveTo>
                  <a:pt x="8023" y="4736"/>
                </a:moveTo>
                <a:cubicBezTo>
                  <a:pt x="8015" y="4747"/>
                  <a:pt x="8024" y="4757"/>
                  <a:pt x="8020" y="4768"/>
                </a:cubicBezTo>
                <a:cubicBezTo>
                  <a:pt x="8059" y="4759"/>
                  <a:pt x="8106" y="4802"/>
                  <a:pt x="8102" y="4842"/>
                </a:cubicBezTo>
                <a:cubicBezTo>
                  <a:pt x="8113" y="4836"/>
                  <a:pt x="8125" y="4847"/>
                  <a:pt x="8136" y="4833"/>
                </a:cubicBezTo>
                <a:cubicBezTo>
                  <a:pt x="8144" y="4781"/>
                  <a:pt x="8073" y="4716"/>
                  <a:pt x="8023" y="4736"/>
                </a:cubicBezTo>
                <a:close/>
                <a:moveTo>
                  <a:pt x="8582" y="5102"/>
                </a:moveTo>
                <a:cubicBezTo>
                  <a:pt x="8566" y="5102"/>
                  <a:pt x="8553" y="5115"/>
                  <a:pt x="8552" y="5131"/>
                </a:cubicBezTo>
                <a:cubicBezTo>
                  <a:pt x="8552" y="5147"/>
                  <a:pt x="8565" y="5160"/>
                  <a:pt x="8581" y="5161"/>
                </a:cubicBezTo>
                <a:cubicBezTo>
                  <a:pt x="8597" y="5161"/>
                  <a:pt x="8610" y="5148"/>
                  <a:pt x="8610" y="5132"/>
                </a:cubicBezTo>
                <a:cubicBezTo>
                  <a:pt x="8611" y="5116"/>
                  <a:pt x="8598" y="5103"/>
                  <a:pt x="8582" y="5102"/>
                </a:cubicBezTo>
                <a:close/>
                <a:moveTo>
                  <a:pt x="8488" y="5101"/>
                </a:moveTo>
                <a:cubicBezTo>
                  <a:pt x="8472" y="5101"/>
                  <a:pt x="8459" y="5114"/>
                  <a:pt x="8458" y="5130"/>
                </a:cubicBezTo>
                <a:cubicBezTo>
                  <a:pt x="8458" y="5146"/>
                  <a:pt x="8471" y="5159"/>
                  <a:pt x="8487" y="5159"/>
                </a:cubicBezTo>
                <a:cubicBezTo>
                  <a:pt x="8503" y="5159"/>
                  <a:pt x="8516" y="5146"/>
                  <a:pt x="8516" y="5131"/>
                </a:cubicBezTo>
                <a:cubicBezTo>
                  <a:pt x="8517" y="5114"/>
                  <a:pt x="8504" y="5101"/>
                  <a:pt x="8488" y="5101"/>
                </a:cubicBezTo>
                <a:close/>
                <a:moveTo>
                  <a:pt x="8394" y="5100"/>
                </a:moveTo>
                <a:cubicBezTo>
                  <a:pt x="8378" y="5099"/>
                  <a:pt x="8365" y="5112"/>
                  <a:pt x="8364" y="5128"/>
                </a:cubicBezTo>
                <a:cubicBezTo>
                  <a:pt x="8364" y="5144"/>
                  <a:pt x="8377" y="5157"/>
                  <a:pt x="8393" y="5158"/>
                </a:cubicBezTo>
                <a:cubicBezTo>
                  <a:pt x="8409" y="5158"/>
                  <a:pt x="8422" y="5145"/>
                  <a:pt x="8422" y="5129"/>
                </a:cubicBezTo>
                <a:cubicBezTo>
                  <a:pt x="8423" y="5113"/>
                  <a:pt x="8410" y="5100"/>
                  <a:pt x="8394" y="5100"/>
                </a:cubicBezTo>
                <a:close/>
                <a:moveTo>
                  <a:pt x="8300" y="5098"/>
                </a:moveTo>
                <a:cubicBezTo>
                  <a:pt x="8284" y="5098"/>
                  <a:pt x="8271" y="5111"/>
                  <a:pt x="8270" y="5127"/>
                </a:cubicBezTo>
                <a:cubicBezTo>
                  <a:pt x="8270" y="5143"/>
                  <a:pt x="8283" y="5156"/>
                  <a:pt x="8299" y="5156"/>
                </a:cubicBezTo>
                <a:cubicBezTo>
                  <a:pt x="8315" y="5156"/>
                  <a:pt x="8328" y="5144"/>
                  <a:pt x="8328" y="5128"/>
                </a:cubicBezTo>
                <a:cubicBezTo>
                  <a:pt x="8329" y="5112"/>
                  <a:pt x="8316" y="5098"/>
                  <a:pt x="8300" y="5098"/>
                </a:cubicBezTo>
                <a:close/>
                <a:moveTo>
                  <a:pt x="8206" y="5097"/>
                </a:moveTo>
                <a:cubicBezTo>
                  <a:pt x="8190" y="5096"/>
                  <a:pt x="8176" y="5109"/>
                  <a:pt x="8176" y="5125"/>
                </a:cubicBezTo>
                <a:cubicBezTo>
                  <a:pt x="8176" y="5141"/>
                  <a:pt x="8189" y="5154"/>
                  <a:pt x="8205" y="5155"/>
                </a:cubicBezTo>
                <a:cubicBezTo>
                  <a:pt x="8221" y="5155"/>
                  <a:pt x="8234" y="5142"/>
                  <a:pt x="8234" y="5126"/>
                </a:cubicBezTo>
                <a:cubicBezTo>
                  <a:pt x="8235" y="5110"/>
                  <a:pt x="8222" y="5097"/>
                  <a:pt x="8206" y="5097"/>
                </a:cubicBezTo>
                <a:close/>
                <a:moveTo>
                  <a:pt x="8112" y="5095"/>
                </a:moveTo>
                <a:cubicBezTo>
                  <a:pt x="8096" y="5095"/>
                  <a:pt x="8082" y="5108"/>
                  <a:pt x="8082" y="5124"/>
                </a:cubicBezTo>
                <a:cubicBezTo>
                  <a:pt x="8082" y="5140"/>
                  <a:pt x="8095" y="5153"/>
                  <a:pt x="8111" y="5153"/>
                </a:cubicBezTo>
                <a:cubicBezTo>
                  <a:pt x="8127" y="5154"/>
                  <a:pt x="8140" y="5141"/>
                  <a:pt x="8140" y="5125"/>
                </a:cubicBezTo>
                <a:cubicBezTo>
                  <a:pt x="8141" y="5109"/>
                  <a:pt x="8128" y="5095"/>
                  <a:pt x="8112" y="5095"/>
                </a:cubicBezTo>
                <a:close/>
                <a:moveTo>
                  <a:pt x="8729" y="5209"/>
                </a:moveTo>
                <a:cubicBezTo>
                  <a:pt x="8729" y="5218"/>
                  <a:pt x="8722" y="5225"/>
                  <a:pt x="8713" y="5225"/>
                </a:cubicBezTo>
                <a:lnTo>
                  <a:pt x="7976" y="5213"/>
                </a:lnTo>
                <a:cubicBezTo>
                  <a:pt x="7968" y="5213"/>
                  <a:pt x="7961" y="5206"/>
                  <a:pt x="7961" y="5197"/>
                </a:cubicBezTo>
                <a:lnTo>
                  <a:pt x="7963" y="5047"/>
                </a:lnTo>
                <a:cubicBezTo>
                  <a:pt x="7963" y="5038"/>
                  <a:pt x="7971" y="5031"/>
                  <a:pt x="7979" y="5031"/>
                </a:cubicBezTo>
                <a:lnTo>
                  <a:pt x="8011" y="5032"/>
                </a:lnTo>
                <a:cubicBezTo>
                  <a:pt x="8010" y="5031"/>
                  <a:pt x="8010" y="5030"/>
                  <a:pt x="8010" y="5030"/>
                </a:cubicBezTo>
                <a:lnTo>
                  <a:pt x="8012" y="4929"/>
                </a:lnTo>
                <a:cubicBezTo>
                  <a:pt x="8012" y="4927"/>
                  <a:pt x="8015" y="4924"/>
                  <a:pt x="8020" y="4924"/>
                </a:cubicBezTo>
                <a:lnTo>
                  <a:pt x="8022" y="4924"/>
                </a:lnTo>
                <a:lnTo>
                  <a:pt x="8023" y="4835"/>
                </a:lnTo>
                <a:cubicBezTo>
                  <a:pt x="8023" y="4832"/>
                  <a:pt x="8025" y="4829"/>
                  <a:pt x="8027" y="4829"/>
                </a:cubicBezTo>
                <a:lnTo>
                  <a:pt x="8039" y="4830"/>
                </a:lnTo>
                <a:cubicBezTo>
                  <a:pt x="8041" y="4830"/>
                  <a:pt x="8043" y="4832"/>
                  <a:pt x="8043" y="4835"/>
                </a:cubicBezTo>
                <a:lnTo>
                  <a:pt x="8042" y="4925"/>
                </a:lnTo>
                <a:lnTo>
                  <a:pt x="8044" y="4925"/>
                </a:lnTo>
                <a:cubicBezTo>
                  <a:pt x="8048" y="4925"/>
                  <a:pt x="8052" y="4927"/>
                  <a:pt x="8052" y="4930"/>
                </a:cubicBezTo>
                <a:lnTo>
                  <a:pt x="8050" y="5031"/>
                </a:lnTo>
                <a:cubicBezTo>
                  <a:pt x="8050" y="5031"/>
                  <a:pt x="8050" y="5032"/>
                  <a:pt x="8050" y="5032"/>
                </a:cubicBezTo>
                <a:lnTo>
                  <a:pt x="8716" y="5042"/>
                </a:lnTo>
                <a:cubicBezTo>
                  <a:pt x="8725" y="5043"/>
                  <a:pt x="8732" y="5050"/>
                  <a:pt x="8732" y="5059"/>
                </a:cubicBezTo>
                <a:lnTo>
                  <a:pt x="8729" y="5209"/>
                </a:lnTo>
                <a:close/>
                <a:moveTo>
                  <a:pt x="8346" y="4343"/>
                </a:moveTo>
                <a:cubicBezTo>
                  <a:pt x="8508" y="4343"/>
                  <a:pt x="8654" y="4409"/>
                  <a:pt x="8760" y="4515"/>
                </a:cubicBezTo>
                <a:cubicBezTo>
                  <a:pt x="8834" y="4589"/>
                  <a:pt x="8888" y="4683"/>
                  <a:pt x="8914" y="4788"/>
                </a:cubicBezTo>
                <a:lnTo>
                  <a:pt x="11268" y="3696"/>
                </a:lnTo>
                <a:cubicBezTo>
                  <a:pt x="11264" y="3686"/>
                  <a:pt x="11262" y="3675"/>
                  <a:pt x="11261" y="3663"/>
                </a:cubicBezTo>
                <a:lnTo>
                  <a:pt x="8220" y="3507"/>
                </a:lnTo>
                <a:cubicBezTo>
                  <a:pt x="8206" y="3645"/>
                  <a:pt x="8145" y="3769"/>
                  <a:pt x="8052" y="3862"/>
                </a:cubicBezTo>
                <a:cubicBezTo>
                  <a:pt x="8002" y="3912"/>
                  <a:pt x="7942" y="3953"/>
                  <a:pt x="7877" y="3983"/>
                </a:cubicBezTo>
                <a:lnTo>
                  <a:pt x="8075" y="4410"/>
                </a:lnTo>
                <a:cubicBezTo>
                  <a:pt x="8156" y="4368"/>
                  <a:pt x="8248" y="4343"/>
                  <a:pt x="8346" y="4343"/>
                </a:cubicBezTo>
                <a:close/>
                <a:moveTo>
                  <a:pt x="8451" y="5504"/>
                </a:moveTo>
                <a:cubicBezTo>
                  <a:pt x="8417" y="5510"/>
                  <a:pt x="8382" y="5513"/>
                  <a:pt x="8346" y="5513"/>
                </a:cubicBezTo>
                <a:cubicBezTo>
                  <a:pt x="8226" y="5513"/>
                  <a:pt x="8114" y="5477"/>
                  <a:pt x="8021" y="5414"/>
                </a:cubicBezTo>
                <a:cubicBezTo>
                  <a:pt x="7819" y="5608"/>
                  <a:pt x="7617" y="5803"/>
                  <a:pt x="7416" y="5997"/>
                </a:cubicBezTo>
                <a:lnTo>
                  <a:pt x="8504" y="5688"/>
                </a:lnTo>
                <a:lnTo>
                  <a:pt x="8451" y="5504"/>
                </a:lnTo>
                <a:close/>
                <a:moveTo>
                  <a:pt x="8710" y="4565"/>
                </a:moveTo>
                <a:cubicBezTo>
                  <a:pt x="8617" y="4472"/>
                  <a:pt x="8488" y="4414"/>
                  <a:pt x="8346" y="4414"/>
                </a:cubicBezTo>
                <a:cubicBezTo>
                  <a:pt x="8204" y="4414"/>
                  <a:pt x="8076" y="4472"/>
                  <a:pt x="7983" y="4565"/>
                </a:cubicBezTo>
                <a:cubicBezTo>
                  <a:pt x="7889" y="4658"/>
                  <a:pt x="7832" y="4786"/>
                  <a:pt x="7832" y="4928"/>
                </a:cubicBezTo>
                <a:cubicBezTo>
                  <a:pt x="7832" y="5070"/>
                  <a:pt x="7889" y="5199"/>
                  <a:pt x="7983" y="5292"/>
                </a:cubicBezTo>
                <a:cubicBezTo>
                  <a:pt x="8076" y="5385"/>
                  <a:pt x="8204" y="5443"/>
                  <a:pt x="8346" y="5443"/>
                </a:cubicBezTo>
                <a:cubicBezTo>
                  <a:pt x="8488" y="5443"/>
                  <a:pt x="8617" y="5385"/>
                  <a:pt x="8710" y="5292"/>
                </a:cubicBezTo>
                <a:cubicBezTo>
                  <a:pt x="8803" y="5199"/>
                  <a:pt x="8861" y="5070"/>
                  <a:pt x="8861" y="4928"/>
                </a:cubicBezTo>
                <a:cubicBezTo>
                  <a:pt x="8861" y="4786"/>
                  <a:pt x="8803" y="4658"/>
                  <a:pt x="8710" y="4565"/>
                </a:cubicBezTo>
                <a:close/>
                <a:moveTo>
                  <a:pt x="1525" y="4996"/>
                </a:moveTo>
                <a:lnTo>
                  <a:pt x="1319" y="4997"/>
                </a:lnTo>
                <a:lnTo>
                  <a:pt x="1318" y="4944"/>
                </a:lnTo>
                <a:lnTo>
                  <a:pt x="1240" y="4944"/>
                </a:lnTo>
                <a:lnTo>
                  <a:pt x="1240" y="4895"/>
                </a:lnTo>
                <a:lnTo>
                  <a:pt x="1241" y="4895"/>
                </a:lnTo>
                <a:cubicBezTo>
                  <a:pt x="1246" y="4895"/>
                  <a:pt x="1251" y="4891"/>
                  <a:pt x="1251" y="4886"/>
                </a:cubicBezTo>
                <a:lnTo>
                  <a:pt x="1251" y="4873"/>
                </a:lnTo>
                <a:lnTo>
                  <a:pt x="1394" y="4872"/>
                </a:lnTo>
                <a:cubicBezTo>
                  <a:pt x="1401" y="4872"/>
                  <a:pt x="1406" y="4866"/>
                  <a:pt x="1406" y="4860"/>
                </a:cubicBezTo>
                <a:lnTo>
                  <a:pt x="1406" y="4840"/>
                </a:lnTo>
                <a:cubicBezTo>
                  <a:pt x="1406" y="4834"/>
                  <a:pt x="1400" y="4828"/>
                  <a:pt x="1393" y="4828"/>
                </a:cubicBezTo>
                <a:lnTo>
                  <a:pt x="1250" y="4829"/>
                </a:lnTo>
                <a:lnTo>
                  <a:pt x="1250" y="4817"/>
                </a:lnTo>
                <a:cubicBezTo>
                  <a:pt x="1250" y="4811"/>
                  <a:pt x="1246" y="4807"/>
                  <a:pt x="1240" y="4807"/>
                </a:cubicBezTo>
                <a:lnTo>
                  <a:pt x="1166" y="4808"/>
                </a:lnTo>
                <a:cubicBezTo>
                  <a:pt x="1160" y="4808"/>
                  <a:pt x="1156" y="4812"/>
                  <a:pt x="1156" y="4817"/>
                </a:cubicBezTo>
                <a:lnTo>
                  <a:pt x="1156" y="4830"/>
                </a:lnTo>
                <a:lnTo>
                  <a:pt x="1038" y="4831"/>
                </a:lnTo>
                <a:cubicBezTo>
                  <a:pt x="1031" y="4831"/>
                  <a:pt x="1025" y="4836"/>
                  <a:pt x="1025" y="4843"/>
                </a:cubicBezTo>
                <a:lnTo>
                  <a:pt x="1025" y="4862"/>
                </a:lnTo>
                <a:cubicBezTo>
                  <a:pt x="1025" y="4869"/>
                  <a:pt x="1031" y="4874"/>
                  <a:pt x="1038" y="4874"/>
                </a:cubicBezTo>
                <a:lnTo>
                  <a:pt x="1156" y="4873"/>
                </a:lnTo>
                <a:lnTo>
                  <a:pt x="1156" y="4886"/>
                </a:lnTo>
                <a:cubicBezTo>
                  <a:pt x="1156" y="4891"/>
                  <a:pt x="1161" y="4896"/>
                  <a:pt x="1167" y="4896"/>
                </a:cubicBezTo>
                <a:lnTo>
                  <a:pt x="1179" y="4896"/>
                </a:lnTo>
                <a:lnTo>
                  <a:pt x="1179" y="4945"/>
                </a:lnTo>
                <a:lnTo>
                  <a:pt x="1112" y="4945"/>
                </a:lnTo>
                <a:lnTo>
                  <a:pt x="1113" y="4999"/>
                </a:lnTo>
                <a:lnTo>
                  <a:pt x="1044" y="4999"/>
                </a:lnTo>
                <a:cubicBezTo>
                  <a:pt x="1035" y="4999"/>
                  <a:pt x="977" y="4997"/>
                  <a:pt x="974" y="5040"/>
                </a:cubicBezTo>
                <a:lnTo>
                  <a:pt x="974" y="5077"/>
                </a:lnTo>
                <a:lnTo>
                  <a:pt x="975" y="5151"/>
                </a:lnTo>
                <a:lnTo>
                  <a:pt x="976" y="5346"/>
                </a:lnTo>
                <a:cubicBezTo>
                  <a:pt x="976" y="5354"/>
                  <a:pt x="984" y="5361"/>
                  <a:pt x="993" y="5361"/>
                </a:cubicBezTo>
                <a:lnTo>
                  <a:pt x="1122" y="5360"/>
                </a:lnTo>
                <a:cubicBezTo>
                  <a:pt x="1132" y="5360"/>
                  <a:pt x="1139" y="5353"/>
                  <a:pt x="1139" y="5345"/>
                </a:cubicBezTo>
                <a:lnTo>
                  <a:pt x="1137" y="5158"/>
                </a:lnTo>
                <a:lnTo>
                  <a:pt x="1526" y="5155"/>
                </a:lnTo>
                <a:cubicBezTo>
                  <a:pt x="1535" y="5155"/>
                  <a:pt x="1543" y="5148"/>
                  <a:pt x="1543" y="5140"/>
                </a:cubicBezTo>
                <a:lnTo>
                  <a:pt x="1542" y="5011"/>
                </a:lnTo>
                <a:cubicBezTo>
                  <a:pt x="1542" y="5003"/>
                  <a:pt x="1534" y="4996"/>
                  <a:pt x="1525" y="4996"/>
                </a:cubicBezTo>
                <a:close/>
                <a:moveTo>
                  <a:pt x="1084" y="5564"/>
                </a:moveTo>
                <a:cubicBezTo>
                  <a:pt x="1073" y="5583"/>
                  <a:pt x="1069" y="5601"/>
                  <a:pt x="1076" y="5604"/>
                </a:cubicBezTo>
                <a:cubicBezTo>
                  <a:pt x="1082" y="5608"/>
                  <a:pt x="1097" y="5596"/>
                  <a:pt x="1109" y="5577"/>
                </a:cubicBezTo>
                <a:cubicBezTo>
                  <a:pt x="1120" y="5558"/>
                  <a:pt x="1124" y="5540"/>
                  <a:pt x="1117" y="5537"/>
                </a:cubicBezTo>
                <a:cubicBezTo>
                  <a:pt x="1110" y="5533"/>
                  <a:pt x="1095" y="5545"/>
                  <a:pt x="1084" y="5564"/>
                </a:cubicBezTo>
                <a:close/>
                <a:moveTo>
                  <a:pt x="1141" y="5542"/>
                </a:moveTo>
                <a:cubicBezTo>
                  <a:pt x="1142" y="5589"/>
                  <a:pt x="1101" y="5627"/>
                  <a:pt x="1050" y="5628"/>
                </a:cubicBezTo>
                <a:cubicBezTo>
                  <a:pt x="1000" y="5628"/>
                  <a:pt x="958" y="5590"/>
                  <a:pt x="958" y="5543"/>
                </a:cubicBezTo>
                <a:cubicBezTo>
                  <a:pt x="958" y="5496"/>
                  <a:pt x="1048" y="5361"/>
                  <a:pt x="1048" y="5361"/>
                </a:cubicBezTo>
                <a:cubicBezTo>
                  <a:pt x="1048" y="5361"/>
                  <a:pt x="1141" y="5495"/>
                  <a:pt x="1141" y="5542"/>
                </a:cubicBezTo>
                <a:close/>
                <a:moveTo>
                  <a:pt x="1757" y="5110"/>
                </a:moveTo>
                <a:lnTo>
                  <a:pt x="2252" y="5053"/>
                </a:lnTo>
                <a:cubicBezTo>
                  <a:pt x="2253" y="5008"/>
                  <a:pt x="2273" y="4969"/>
                  <a:pt x="2306" y="4943"/>
                </a:cubicBezTo>
                <a:lnTo>
                  <a:pt x="1509" y="3644"/>
                </a:lnTo>
                <a:cubicBezTo>
                  <a:pt x="1424" y="3692"/>
                  <a:pt x="1326" y="3719"/>
                  <a:pt x="1221" y="3719"/>
                </a:cubicBezTo>
                <a:cubicBezTo>
                  <a:pt x="1060" y="3719"/>
                  <a:pt x="913" y="3654"/>
                  <a:pt x="808" y="3548"/>
                </a:cubicBezTo>
                <a:cubicBezTo>
                  <a:pt x="806" y="3546"/>
                  <a:pt x="804" y="3545"/>
                  <a:pt x="803" y="3543"/>
                </a:cubicBezTo>
                <a:lnTo>
                  <a:pt x="263" y="3970"/>
                </a:lnTo>
                <a:cubicBezTo>
                  <a:pt x="276" y="3991"/>
                  <a:pt x="284" y="4016"/>
                  <a:pt x="284" y="4043"/>
                </a:cubicBezTo>
                <a:cubicBezTo>
                  <a:pt x="284" y="4079"/>
                  <a:pt x="271" y="4111"/>
                  <a:pt x="249" y="4136"/>
                </a:cubicBezTo>
                <a:lnTo>
                  <a:pt x="777" y="4729"/>
                </a:lnTo>
                <a:cubicBezTo>
                  <a:pt x="882" y="4632"/>
                  <a:pt x="1021" y="4573"/>
                  <a:pt x="1174" y="4573"/>
                </a:cubicBezTo>
                <a:cubicBezTo>
                  <a:pt x="1335" y="4573"/>
                  <a:pt x="1482" y="4639"/>
                  <a:pt x="1588" y="4745"/>
                </a:cubicBezTo>
                <a:cubicBezTo>
                  <a:pt x="1683" y="4840"/>
                  <a:pt x="1745" y="4968"/>
                  <a:pt x="1757" y="5110"/>
                </a:cubicBezTo>
                <a:close/>
                <a:moveTo>
                  <a:pt x="1538" y="4795"/>
                </a:moveTo>
                <a:cubicBezTo>
                  <a:pt x="1445" y="4702"/>
                  <a:pt x="1316" y="4644"/>
                  <a:pt x="1174" y="4644"/>
                </a:cubicBezTo>
                <a:cubicBezTo>
                  <a:pt x="1032" y="4644"/>
                  <a:pt x="903" y="4702"/>
                  <a:pt x="810" y="4795"/>
                </a:cubicBezTo>
                <a:cubicBezTo>
                  <a:pt x="717" y="4888"/>
                  <a:pt x="660" y="5016"/>
                  <a:pt x="660" y="5158"/>
                </a:cubicBezTo>
                <a:cubicBezTo>
                  <a:pt x="660" y="5300"/>
                  <a:pt x="717" y="5429"/>
                  <a:pt x="810" y="5522"/>
                </a:cubicBezTo>
                <a:cubicBezTo>
                  <a:pt x="903" y="5615"/>
                  <a:pt x="1032" y="5673"/>
                  <a:pt x="1174" y="5673"/>
                </a:cubicBezTo>
                <a:cubicBezTo>
                  <a:pt x="1316" y="5673"/>
                  <a:pt x="1445" y="5615"/>
                  <a:pt x="1538" y="5522"/>
                </a:cubicBezTo>
                <a:cubicBezTo>
                  <a:pt x="1631" y="5429"/>
                  <a:pt x="1688" y="5300"/>
                  <a:pt x="1688" y="5158"/>
                </a:cubicBezTo>
                <a:cubicBezTo>
                  <a:pt x="1688" y="5016"/>
                  <a:pt x="1631" y="4888"/>
                  <a:pt x="1538" y="4795"/>
                </a:cubicBezTo>
                <a:close/>
                <a:moveTo>
                  <a:pt x="4744" y="4195"/>
                </a:moveTo>
                <a:cubicBezTo>
                  <a:pt x="4751" y="4173"/>
                  <a:pt x="4775" y="4162"/>
                  <a:pt x="4796" y="4170"/>
                </a:cubicBezTo>
                <a:cubicBezTo>
                  <a:pt x="4818" y="4177"/>
                  <a:pt x="4830" y="4201"/>
                  <a:pt x="4822" y="4222"/>
                </a:cubicBezTo>
                <a:cubicBezTo>
                  <a:pt x="4814" y="4244"/>
                  <a:pt x="4791" y="4255"/>
                  <a:pt x="4769" y="4248"/>
                </a:cubicBezTo>
                <a:cubicBezTo>
                  <a:pt x="4748" y="4240"/>
                  <a:pt x="4736" y="4216"/>
                  <a:pt x="4744" y="4195"/>
                </a:cubicBezTo>
                <a:close/>
                <a:moveTo>
                  <a:pt x="4861" y="4171"/>
                </a:moveTo>
                <a:cubicBezTo>
                  <a:pt x="4869" y="4150"/>
                  <a:pt x="4893" y="4138"/>
                  <a:pt x="4914" y="4146"/>
                </a:cubicBezTo>
                <a:cubicBezTo>
                  <a:pt x="4936" y="4154"/>
                  <a:pt x="4947" y="4177"/>
                  <a:pt x="4940" y="4199"/>
                </a:cubicBezTo>
                <a:cubicBezTo>
                  <a:pt x="4932" y="4220"/>
                  <a:pt x="4908" y="4232"/>
                  <a:pt x="4887" y="4224"/>
                </a:cubicBezTo>
                <a:cubicBezTo>
                  <a:pt x="4865" y="4217"/>
                  <a:pt x="4854" y="4193"/>
                  <a:pt x="4861" y="4171"/>
                </a:cubicBezTo>
                <a:close/>
                <a:moveTo>
                  <a:pt x="4824" y="4279"/>
                </a:moveTo>
                <a:cubicBezTo>
                  <a:pt x="4831" y="4257"/>
                  <a:pt x="4855" y="4246"/>
                  <a:pt x="4876" y="4254"/>
                </a:cubicBezTo>
                <a:cubicBezTo>
                  <a:pt x="4898" y="4261"/>
                  <a:pt x="4909" y="4285"/>
                  <a:pt x="4902" y="4306"/>
                </a:cubicBezTo>
                <a:cubicBezTo>
                  <a:pt x="4894" y="4328"/>
                  <a:pt x="4871" y="4339"/>
                  <a:pt x="4849" y="4332"/>
                </a:cubicBezTo>
                <a:cubicBezTo>
                  <a:pt x="4827" y="4324"/>
                  <a:pt x="4816" y="4300"/>
                  <a:pt x="4824" y="4279"/>
                </a:cubicBezTo>
                <a:close/>
                <a:moveTo>
                  <a:pt x="5106" y="4284"/>
                </a:moveTo>
                <a:lnTo>
                  <a:pt x="5110" y="4285"/>
                </a:lnTo>
                <a:lnTo>
                  <a:pt x="5159" y="4302"/>
                </a:lnTo>
                <a:lnTo>
                  <a:pt x="5177" y="4253"/>
                </a:lnTo>
                <a:lnTo>
                  <a:pt x="5178" y="4249"/>
                </a:lnTo>
                <a:lnTo>
                  <a:pt x="5182" y="4250"/>
                </a:lnTo>
                <a:lnTo>
                  <a:pt x="5231" y="4268"/>
                </a:lnTo>
                <a:lnTo>
                  <a:pt x="5236" y="4269"/>
                </a:lnTo>
                <a:lnTo>
                  <a:pt x="5234" y="4273"/>
                </a:lnTo>
                <a:lnTo>
                  <a:pt x="5217" y="4323"/>
                </a:lnTo>
                <a:lnTo>
                  <a:pt x="5266" y="4340"/>
                </a:lnTo>
                <a:lnTo>
                  <a:pt x="5270" y="4341"/>
                </a:lnTo>
                <a:lnTo>
                  <a:pt x="5269" y="4346"/>
                </a:lnTo>
                <a:lnTo>
                  <a:pt x="5251" y="4395"/>
                </a:lnTo>
                <a:lnTo>
                  <a:pt x="5250" y="4399"/>
                </a:lnTo>
                <a:lnTo>
                  <a:pt x="5246" y="4397"/>
                </a:lnTo>
                <a:lnTo>
                  <a:pt x="5197" y="4380"/>
                </a:lnTo>
                <a:lnTo>
                  <a:pt x="5179" y="4429"/>
                </a:lnTo>
                <a:lnTo>
                  <a:pt x="5178" y="4434"/>
                </a:lnTo>
                <a:lnTo>
                  <a:pt x="5174" y="4432"/>
                </a:lnTo>
                <a:lnTo>
                  <a:pt x="5124" y="4415"/>
                </a:lnTo>
                <a:lnTo>
                  <a:pt x="5120" y="4413"/>
                </a:lnTo>
                <a:lnTo>
                  <a:pt x="5122" y="4409"/>
                </a:lnTo>
                <a:lnTo>
                  <a:pt x="5139" y="4360"/>
                </a:lnTo>
                <a:lnTo>
                  <a:pt x="5090" y="4343"/>
                </a:lnTo>
                <a:lnTo>
                  <a:pt x="5086" y="4341"/>
                </a:lnTo>
                <a:lnTo>
                  <a:pt x="5087" y="4337"/>
                </a:lnTo>
                <a:lnTo>
                  <a:pt x="5104" y="4288"/>
                </a:lnTo>
                <a:lnTo>
                  <a:pt x="5106" y="4284"/>
                </a:lnTo>
                <a:close/>
                <a:moveTo>
                  <a:pt x="4585" y="4402"/>
                </a:moveTo>
                <a:cubicBezTo>
                  <a:pt x="4577" y="4446"/>
                  <a:pt x="4590" y="4481"/>
                  <a:pt x="4633" y="4493"/>
                </a:cubicBezTo>
                <a:cubicBezTo>
                  <a:pt x="4676" y="4504"/>
                  <a:pt x="4804" y="4427"/>
                  <a:pt x="4804" y="4427"/>
                </a:cubicBezTo>
                <a:cubicBezTo>
                  <a:pt x="4815" y="4421"/>
                  <a:pt x="4833" y="4419"/>
                  <a:pt x="4845" y="4423"/>
                </a:cubicBezTo>
                <a:lnTo>
                  <a:pt x="5075" y="4504"/>
                </a:lnTo>
                <a:cubicBezTo>
                  <a:pt x="5087" y="4508"/>
                  <a:pt x="5100" y="4521"/>
                  <a:pt x="5104" y="4532"/>
                </a:cubicBezTo>
                <a:cubicBezTo>
                  <a:pt x="5104" y="4532"/>
                  <a:pt x="5156" y="4673"/>
                  <a:pt x="5197" y="4691"/>
                </a:cubicBezTo>
                <a:cubicBezTo>
                  <a:pt x="5237" y="4709"/>
                  <a:pt x="5269" y="4689"/>
                  <a:pt x="5290" y="4650"/>
                </a:cubicBezTo>
                <a:cubicBezTo>
                  <a:pt x="5290" y="4650"/>
                  <a:pt x="5389" y="4493"/>
                  <a:pt x="5348" y="4303"/>
                </a:cubicBezTo>
                <a:cubicBezTo>
                  <a:pt x="5308" y="4114"/>
                  <a:pt x="5126" y="4172"/>
                  <a:pt x="5126" y="4172"/>
                </a:cubicBezTo>
                <a:cubicBezTo>
                  <a:pt x="5115" y="4176"/>
                  <a:pt x="5096" y="4175"/>
                  <a:pt x="5084" y="4171"/>
                </a:cubicBezTo>
                <a:lnTo>
                  <a:pt x="5046" y="4158"/>
                </a:lnTo>
                <a:cubicBezTo>
                  <a:pt x="5034" y="4154"/>
                  <a:pt x="5019" y="4142"/>
                  <a:pt x="5012" y="4132"/>
                </a:cubicBezTo>
                <a:cubicBezTo>
                  <a:pt x="5012" y="4132"/>
                  <a:pt x="4907" y="3972"/>
                  <a:pt x="4757" y="4095"/>
                </a:cubicBezTo>
                <a:cubicBezTo>
                  <a:pt x="4607" y="4218"/>
                  <a:pt x="4585" y="4402"/>
                  <a:pt x="4585" y="4402"/>
                </a:cubicBezTo>
                <a:close/>
                <a:moveTo>
                  <a:pt x="4971" y="3788"/>
                </a:moveTo>
                <a:cubicBezTo>
                  <a:pt x="5001" y="3788"/>
                  <a:pt x="5030" y="3791"/>
                  <a:pt x="5059" y="3795"/>
                </a:cubicBezTo>
                <a:lnTo>
                  <a:pt x="5254" y="2656"/>
                </a:lnTo>
                <a:lnTo>
                  <a:pt x="4192" y="3100"/>
                </a:lnTo>
                <a:lnTo>
                  <a:pt x="4638" y="3892"/>
                </a:lnTo>
                <a:cubicBezTo>
                  <a:pt x="4732" y="3827"/>
                  <a:pt x="4847" y="3788"/>
                  <a:pt x="4971" y="3788"/>
                </a:cubicBezTo>
                <a:close/>
                <a:moveTo>
                  <a:pt x="5093" y="3801"/>
                </a:moveTo>
                <a:cubicBezTo>
                  <a:pt x="5206" y="3825"/>
                  <a:pt x="5306" y="3881"/>
                  <a:pt x="5384" y="3960"/>
                </a:cubicBezTo>
                <a:cubicBezTo>
                  <a:pt x="5462" y="4037"/>
                  <a:pt x="5517" y="4136"/>
                  <a:pt x="5542" y="4247"/>
                </a:cubicBezTo>
                <a:lnTo>
                  <a:pt x="5964" y="4083"/>
                </a:lnTo>
                <a:lnTo>
                  <a:pt x="7066" y="1961"/>
                </a:lnTo>
                <a:cubicBezTo>
                  <a:pt x="7049" y="1949"/>
                  <a:pt x="7034" y="1933"/>
                  <a:pt x="7024" y="1915"/>
                </a:cubicBezTo>
                <a:lnTo>
                  <a:pt x="5292" y="2640"/>
                </a:lnTo>
                <a:lnTo>
                  <a:pt x="5093" y="3801"/>
                </a:lnTo>
                <a:close/>
                <a:moveTo>
                  <a:pt x="4429" y="4152"/>
                </a:moveTo>
                <a:cubicBezTo>
                  <a:pt x="4459" y="4079"/>
                  <a:pt x="4502" y="4014"/>
                  <a:pt x="4557" y="3960"/>
                </a:cubicBezTo>
                <a:cubicBezTo>
                  <a:pt x="4573" y="3943"/>
                  <a:pt x="4591" y="3928"/>
                  <a:pt x="4609" y="3913"/>
                </a:cubicBezTo>
                <a:lnTo>
                  <a:pt x="4159" y="3114"/>
                </a:lnTo>
                <a:lnTo>
                  <a:pt x="3848" y="3244"/>
                </a:lnTo>
                <a:cubicBezTo>
                  <a:pt x="3883" y="3319"/>
                  <a:pt x="3903" y="3403"/>
                  <a:pt x="3903" y="3491"/>
                </a:cubicBezTo>
                <a:cubicBezTo>
                  <a:pt x="3903" y="3598"/>
                  <a:pt x="3874" y="3698"/>
                  <a:pt x="3824" y="3784"/>
                </a:cubicBezTo>
                <a:lnTo>
                  <a:pt x="4429" y="4152"/>
                </a:lnTo>
                <a:close/>
                <a:moveTo>
                  <a:pt x="5334" y="4009"/>
                </a:moveTo>
                <a:cubicBezTo>
                  <a:pt x="5241" y="3916"/>
                  <a:pt x="5113" y="3859"/>
                  <a:pt x="4971" y="3859"/>
                </a:cubicBezTo>
                <a:cubicBezTo>
                  <a:pt x="4828" y="3859"/>
                  <a:pt x="4700" y="3916"/>
                  <a:pt x="4607" y="4009"/>
                </a:cubicBezTo>
                <a:cubicBezTo>
                  <a:pt x="4514" y="4103"/>
                  <a:pt x="4456" y="4231"/>
                  <a:pt x="4456" y="4373"/>
                </a:cubicBezTo>
                <a:cubicBezTo>
                  <a:pt x="4456" y="4515"/>
                  <a:pt x="4514" y="4644"/>
                  <a:pt x="4607" y="4737"/>
                </a:cubicBezTo>
                <a:cubicBezTo>
                  <a:pt x="4700" y="4830"/>
                  <a:pt x="4828" y="4888"/>
                  <a:pt x="4971" y="4888"/>
                </a:cubicBezTo>
                <a:cubicBezTo>
                  <a:pt x="5113" y="4888"/>
                  <a:pt x="5241" y="4830"/>
                  <a:pt x="5334" y="4737"/>
                </a:cubicBezTo>
                <a:cubicBezTo>
                  <a:pt x="5427" y="4644"/>
                  <a:pt x="5485" y="4515"/>
                  <a:pt x="5485" y="4373"/>
                </a:cubicBezTo>
                <a:cubicBezTo>
                  <a:pt x="5485" y="4231"/>
                  <a:pt x="5427" y="4103"/>
                  <a:pt x="5334" y="4009"/>
                </a:cubicBezTo>
                <a:close/>
                <a:moveTo>
                  <a:pt x="1419" y="3294"/>
                </a:moveTo>
                <a:cubicBezTo>
                  <a:pt x="1419" y="3316"/>
                  <a:pt x="1419" y="3334"/>
                  <a:pt x="1391" y="3334"/>
                </a:cubicBezTo>
                <a:lnTo>
                  <a:pt x="1051" y="3334"/>
                </a:lnTo>
                <a:cubicBezTo>
                  <a:pt x="1024" y="3334"/>
                  <a:pt x="1023" y="3316"/>
                  <a:pt x="1023" y="3294"/>
                </a:cubicBezTo>
                <a:lnTo>
                  <a:pt x="1023" y="2975"/>
                </a:lnTo>
                <a:cubicBezTo>
                  <a:pt x="1023" y="2953"/>
                  <a:pt x="1024" y="2936"/>
                  <a:pt x="1051" y="2936"/>
                </a:cubicBezTo>
                <a:lnTo>
                  <a:pt x="1400" y="2936"/>
                </a:lnTo>
                <a:cubicBezTo>
                  <a:pt x="1428" y="2936"/>
                  <a:pt x="1419" y="2953"/>
                  <a:pt x="1419" y="2975"/>
                </a:cubicBezTo>
                <a:lnTo>
                  <a:pt x="1419" y="3294"/>
                </a:lnTo>
                <a:close/>
                <a:moveTo>
                  <a:pt x="1411" y="2880"/>
                </a:moveTo>
                <a:lnTo>
                  <a:pt x="1031" y="2880"/>
                </a:lnTo>
                <a:cubicBezTo>
                  <a:pt x="996" y="2880"/>
                  <a:pt x="968" y="2902"/>
                  <a:pt x="968" y="2930"/>
                </a:cubicBezTo>
                <a:lnTo>
                  <a:pt x="968" y="3339"/>
                </a:lnTo>
                <a:cubicBezTo>
                  <a:pt x="968" y="3367"/>
                  <a:pt x="996" y="3389"/>
                  <a:pt x="1031" y="3389"/>
                </a:cubicBezTo>
                <a:lnTo>
                  <a:pt x="1411" y="3389"/>
                </a:lnTo>
                <a:cubicBezTo>
                  <a:pt x="1446" y="3389"/>
                  <a:pt x="1475" y="3367"/>
                  <a:pt x="1475" y="3339"/>
                </a:cubicBezTo>
                <a:lnTo>
                  <a:pt x="1475" y="2930"/>
                </a:lnTo>
                <a:cubicBezTo>
                  <a:pt x="1475" y="2902"/>
                  <a:pt x="1446" y="2880"/>
                  <a:pt x="1411" y="2880"/>
                </a:cubicBezTo>
                <a:close/>
                <a:moveTo>
                  <a:pt x="1433" y="2861"/>
                </a:moveTo>
                <a:cubicBezTo>
                  <a:pt x="1418" y="2756"/>
                  <a:pt x="1396" y="2728"/>
                  <a:pt x="1367" y="2707"/>
                </a:cubicBezTo>
                <a:lnTo>
                  <a:pt x="1084" y="2707"/>
                </a:lnTo>
                <a:cubicBezTo>
                  <a:pt x="1028" y="2728"/>
                  <a:pt x="1009" y="2861"/>
                  <a:pt x="1009" y="2861"/>
                </a:cubicBezTo>
                <a:lnTo>
                  <a:pt x="1433" y="2861"/>
                </a:lnTo>
                <a:close/>
                <a:moveTo>
                  <a:pt x="1433" y="3408"/>
                </a:moveTo>
                <a:cubicBezTo>
                  <a:pt x="1418" y="3513"/>
                  <a:pt x="1396" y="3541"/>
                  <a:pt x="1367" y="3562"/>
                </a:cubicBezTo>
                <a:lnTo>
                  <a:pt x="1084" y="3562"/>
                </a:lnTo>
                <a:cubicBezTo>
                  <a:pt x="1028" y="3541"/>
                  <a:pt x="1009" y="3408"/>
                  <a:pt x="1009" y="3408"/>
                </a:cubicBezTo>
                <a:lnTo>
                  <a:pt x="1433" y="3408"/>
                </a:lnTo>
                <a:close/>
                <a:moveTo>
                  <a:pt x="1227" y="3044"/>
                </a:moveTo>
                <a:cubicBezTo>
                  <a:pt x="1227" y="3070"/>
                  <a:pt x="1205" y="3090"/>
                  <a:pt x="1178" y="3090"/>
                </a:cubicBezTo>
                <a:cubicBezTo>
                  <a:pt x="1151" y="3090"/>
                  <a:pt x="1129" y="3070"/>
                  <a:pt x="1129" y="3044"/>
                </a:cubicBezTo>
                <a:cubicBezTo>
                  <a:pt x="1129" y="3019"/>
                  <a:pt x="1151" y="2999"/>
                  <a:pt x="1178" y="2999"/>
                </a:cubicBezTo>
                <a:cubicBezTo>
                  <a:pt x="1205" y="2999"/>
                  <a:pt x="1227" y="3019"/>
                  <a:pt x="1227" y="3044"/>
                </a:cubicBezTo>
                <a:close/>
                <a:moveTo>
                  <a:pt x="1331" y="3044"/>
                </a:moveTo>
                <a:cubicBezTo>
                  <a:pt x="1331" y="3070"/>
                  <a:pt x="1309" y="3090"/>
                  <a:pt x="1282" y="3090"/>
                </a:cubicBezTo>
                <a:cubicBezTo>
                  <a:pt x="1255" y="3090"/>
                  <a:pt x="1233" y="3070"/>
                  <a:pt x="1233" y="3044"/>
                </a:cubicBezTo>
                <a:cubicBezTo>
                  <a:pt x="1233" y="3019"/>
                  <a:pt x="1255" y="2999"/>
                  <a:pt x="1282" y="2999"/>
                </a:cubicBezTo>
                <a:cubicBezTo>
                  <a:pt x="1309" y="2999"/>
                  <a:pt x="1331" y="3019"/>
                  <a:pt x="1331" y="3044"/>
                </a:cubicBezTo>
                <a:close/>
                <a:moveTo>
                  <a:pt x="1227" y="3239"/>
                </a:moveTo>
                <a:cubicBezTo>
                  <a:pt x="1227" y="3264"/>
                  <a:pt x="1205" y="3285"/>
                  <a:pt x="1178" y="3285"/>
                </a:cubicBezTo>
                <a:cubicBezTo>
                  <a:pt x="1151" y="3285"/>
                  <a:pt x="1129" y="3264"/>
                  <a:pt x="1129" y="3239"/>
                </a:cubicBezTo>
                <a:cubicBezTo>
                  <a:pt x="1129" y="3214"/>
                  <a:pt x="1151" y="3193"/>
                  <a:pt x="1178" y="3193"/>
                </a:cubicBezTo>
                <a:cubicBezTo>
                  <a:pt x="1205" y="3193"/>
                  <a:pt x="1227" y="3214"/>
                  <a:pt x="1227" y="3239"/>
                </a:cubicBezTo>
                <a:close/>
                <a:moveTo>
                  <a:pt x="1331" y="3239"/>
                </a:moveTo>
                <a:cubicBezTo>
                  <a:pt x="1331" y="3264"/>
                  <a:pt x="1309" y="3285"/>
                  <a:pt x="1282" y="3285"/>
                </a:cubicBezTo>
                <a:cubicBezTo>
                  <a:pt x="1255" y="3285"/>
                  <a:pt x="1233" y="3264"/>
                  <a:pt x="1233" y="3239"/>
                </a:cubicBezTo>
                <a:cubicBezTo>
                  <a:pt x="1233" y="3214"/>
                  <a:pt x="1255" y="3193"/>
                  <a:pt x="1282" y="3193"/>
                </a:cubicBezTo>
                <a:cubicBezTo>
                  <a:pt x="1309" y="3193"/>
                  <a:pt x="1331" y="3214"/>
                  <a:pt x="1331" y="3239"/>
                </a:cubicBezTo>
                <a:close/>
                <a:moveTo>
                  <a:pt x="1172" y="3142"/>
                </a:moveTo>
                <a:cubicBezTo>
                  <a:pt x="1172" y="3167"/>
                  <a:pt x="1150" y="3188"/>
                  <a:pt x="1122" y="3188"/>
                </a:cubicBezTo>
                <a:cubicBezTo>
                  <a:pt x="1095" y="3188"/>
                  <a:pt x="1073" y="3167"/>
                  <a:pt x="1073" y="3142"/>
                </a:cubicBezTo>
                <a:cubicBezTo>
                  <a:pt x="1073" y="3116"/>
                  <a:pt x="1095" y="3096"/>
                  <a:pt x="1122" y="3096"/>
                </a:cubicBezTo>
                <a:cubicBezTo>
                  <a:pt x="1150" y="3096"/>
                  <a:pt x="1172" y="3116"/>
                  <a:pt x="1172" y="3142"/>
                </a:cubicBezTo>
                <a:close/>
                <a:moveTo>
                  <a:pt x="1276" y="3142"/>
                </a:moveTo>
                <a:cubicBezTo>
                  <a:pt x="1276" y="3167"/>
                  <a:pt x="1254" y="3188"/>
                  <a:pt x="1227" y="3188"/>
                </a:cubicBezTo>
                <a:cubicBezTo>
                  <a:pt x="1200" y="3188"/>
                  <a:pt x="1178" y="3167"/>
                  <a:pt x="1178" y="3142"/>
                </a:cubicBezTo>
                <a:cubicBezTo>
                  <a:pt x="1178" y="3116"/>
                  <a:pt x="1200" y="3096"/>
                  <a:pt x="1227" y="3096"/>
                </a:cubicBezTo>
                <a:cubicBezTo>
                  <a:pt x="1254" y="3096"/>
                  <a:pt x="1276" y="3116"/>
                  <a:pt x="1276" y="3142"/>
                </a:cubicBezTo>
                <a:close/>
                <a:moveTo>
                  <a:pt x="1386" y="3142"/>
                </a:moveTo>
                <a:cubicBezTo>
                  <a:pt x="1386" y="3167"/>
                  <a:pt x="1364" y="3188"/>
                  <a:pt x="1337" y="3188"/>
                </a:cubicBezTo>
                <a:cubicBezTo>
                  <a:pt x="1310" y="3188"/>
                  <a:pt x="1288" y="3167"/>
                  <a:pt x="1288" y="3142"/>
                </a:cubicBezTo>
                <a:cubicBezTo>
                  <a:pt x="1288" y="3116"/>
                  <a:pt x="1310" y="3096"/>
                  <a:pt x="1337" y="3096"/>
                </a:cubicBezTo>
                <a:cubicBezTo>
                  <a:pt x="1364" y="3096"/>
                  <a:pt x="1386" y="3116"/>
                  <a:pt x="1386" y="3142"/>
                </a:cubicBezTo>
                <a:close/>
                <a:moveTo>
                  <a:pt x="1539" y="3626"/>
                </a:moveTo>
                <a:lnTo>
                  <a:pt x="2336" y="4925"/>
                </a:lnTo>
                <a:cubicBezTo>
                  <a:pt x="2347" y="4919"/>
                  <a:pt x="2359" y="4916"/>
                  <a:pt x="2372" y="4914"/>
                </a:cubicBezTo>
                <a:lnTo>
                  <a:pt x="2303" y="2866"/>
                </a:lnTo>
                <a:lnTo>
                  <a:pt x="1783" y="2531"/>
                </a:lnTo>
                <a:lnTo>
                  <a:pt x="1632" y="2718"/>
                </a:lnTo>
                <a:lnTo>
                  <a:pt x="1635" y="2721"/>
                </a:lnTo>
                <a:cubicBezTo>
                  <a:pt x="1741" y="2827"/>
                  <a:pt x="1806" y="2973"/>
                  <a:pt x="1806" y="3135"/>
                </a:cubicBezTo>
                <a:cubicBezTo>
                  <a:pt x="1806" y="3296"/>
                  <a:pt x="1741" y="3442"/>
                  <a:pt x="1635" y="3548"/>
                </a:cubicBezTo>
                <a:cubicBezTo>
                  <a:pt x="1606" y="3577"/>
                  <a:pt x="1574" y="3603"/>
                  <a:pt x="1539" y="3626"/>
                </a:cubicBezTo>
                <a:close/>
                <a:moveTo>
                  <a:pt x="1607" y="2694"/>
                </a:moveTo>
                <a:lnTo>
                  <a:pt x="1754" y="2512"/>
                </a:lnTo>
                <a:lnTo>
                  <a:pt x="1545" y="2378"/>
                </a:lnTo>
                <a:cubicBezTo>
                  <a:pt x="1519" y="2409"/>
                  <a:pt x="1480" y="2429"/>
                  <a:pt x="1437" y="2429"/>
                </a:cubicBezTo>
                <a:cubicBezTo>
                  <a:pt x="1432" y="2429"/>
                  <a:pt x="1428" y="2429"/>
                  <a:pt x="1423" y="2429"/>
                </a:cubicBezTo>
                <a:lnTo>
                  <a:pt x="1391" y="2575"/>
                </a:lnTo>
                <a:cubicBezTo>
                  <a:pt x="1472" y="2599"/>
                  <a:pt x="1545" y="2640"/>
                  <a:pt x="1607" y="2694"/>
                </a:cubicBezTo>
                <a:close/>
                <a:moveTo>
                  <a:pt x="1585" y="2771"/>
                </a:moveTo>
                <a:cubicBezTo>
                  <a:pt x="1492" y="2678"/>
                  <a:pt x="1363" y="2620"/>
                  <a:pt x="1221" y="2620"/>
                </a:cubicBezTo>
                <a:cubicBezTo>
                  <a:pt x="1079" y="2620"/>
                  <a:pt x="951" y="2678"/>
                  <a:pt x="857" y="2771"/>
                </a:cubicBezTo>
                <a:cubicBezTo>
                  <a:pt x="764" y="2864"/>
                  <a:pt x="707" y="2992"/>
                  <a:pt x="707" y="3135"/>
                </a:cubicBezTo>
                <a:cubicBezTo>
                  <a:pt x="707" y="3277"/>
                  <a:pt x="764" y="3405"/>
                  <a:pt x="857" y="3498"/>
                </a:cubicBezTo>
                <a:cubicBezTo>
                  <a:pt x="951" y="3591"/>
                  <a:pt x="1079" y="3649"/>
                  <a:pt x="1221" y="3649"/>
                </a:cubicBezTo>
                <a:cubicBezTo>
                  <a:pt x="1363" y="3649"/>
                  <a:pt x="1492" y="3591"/>
                  <a:pt x="1585" y="3498"/>
                </a:cubicBezTo>
                <a:cubicBezTo>
                  <a:pt x="1678" y="3405"/>
                  <a:pt x="1736" y="3277"/>
                  <a:pt x="1736" y="3135"/>
                </a:cubicBezTo>
                <a:cubicBezTo>
                  <a:pt x="1736" y="2992"/>
                  <a:pt x="1678" y="2864"/>
                  <a:pt x="1585" y="2771"/>
                </a:cubicBezTo>
                <a:close/>
                <a:moveTo>
                  <a:pt x="2887" y="3427"/>
                </a:moveTo>
                <a:lnTo>
                  <a:pt x="2888" y="3451"/>
                </a:lnTo>
                <a:lnTo>
                  <a:pt x="2888" y="3451"/>
                </a:lnTo>
                <a:lnTo>
                  <a:pt x="2887" y="3427"/>
                </a:lnTo>
                <a:close/>
                <a:moveTo>
                  <a:pt x="3367" y="3461"/>
                </a:moveTo>
                <a:cubicBezTo>
                  <a:pt x="3367" y="3474"/>
                  <a:pt x="3369" y="3488"/>
                  <a:pt x="3372" y="3505"/>
                </a:cubicBezTo>
                <a:cubicBezTo>
                  <a:pt x="3381" y="3553"/>
                  <a:pt x="3440" y="3585"/>
                  <a:pt x="3535" y="3593"/>
                </a:cubicBezTo>
                <a:cubicBezTo>
                  <a:pt x="3554" y="3595"/>
                  <a:pt x="3574" y="3595"/>
                  <a:pt x="3595" y="3595"/>
                </a:cubicBezTo>
                <a:cubicBezTo>
                  <a:pt x="3703" y="3593"/>
                  <a:pt x="3730" y="3534"/>
                  <a:pt x="3729" y="3499"/>
                </a:cubicBezTo>
                <a:lnTo>
                  <a:pt x="3727" y="3454"/>
                </a:lnTo>
                <a:lnTo>
                  <a:pt x="3721" y="3454"/>
                </a:lnTo>
                <a:lnTo>
                  <a:pt x="3722" y="3444"/>
                </a:lnTo>
                <a:cubicBezTo>
                  <a:pt x="3723" y="3431"/>
                  <a:pt x="3721" y="3418"/>
                  <a:pt x="3716" y="3405"/>
                </a:cubicBezTo>
                <a:lnTo>
                  <a:pt x="3715" y="3402"/>
                </a:lnTo>
                <a:cubicBezTo>
                  <a:pt x="3703" y="3395"/>
                  <a:pt x="3676" y="3384"/>
                  <a:pt x="3622" y="3380"/>
                </a:cubicBezTo>
                <a:cubicBezTo>
                  <a:pt x="3598" y="3378"/>
                  <a:pt x="3570" y="3377"/>
                  <a:pt x="3540" y="3377"/>
                </a:cubicBezTo>
                <a:cubicBezTo>
                  <a:pt x="3466" y="3379"/>
                  <a:pt x="3421" y="3387"/>
                  <a:pt x="3395" y="3404"/>
                </a:cubicBezTo>
                <a:lnTo>
                  <a:pt x="3389" y="3413"/>
                </a:lnTo>
                <a:cubicBezTo>
                  <a:pt x="3381" y="3426"/>
                  <a:pt x="3377" y="3439"/>
                  <a:pt x="3376" y="3452"/>
                </a:cubicBezTo>
                <a:lnTo>
                  <a:pt x="3375" y="3460"/>
                </a:lnTo>
                <a:lnTo>
                  <a:pt x="3367" y="3461"/>
                </a:lnTo>
                <a:close/>
                <a:moveTo>
                  <a:pt x="2914" y="3512"/>
                </a:moveTo>
                <a:lnTo>
                  <a:pt x="2914" y="3514"/>
                </a:lnTo>
                <a:cubicBezTo>
                  <a:pt x="2915" y="3551"/>
                  <a:pt x="2945" y="3597"/>
                  <a:pt x="3026" y="3604"/>
                </a:cubicBezTo>
                <a:cubicBezTo>
                  <a:pt x="3035" y="3605"/>
                  <a:pt x="3044" y="3605"/>
                  <a:pt x="3053" y="3605"/>
                </a:cubicBezTo>
                <a:cubicBezTo>
                  <a:pt x="3183" y="3603"/>
                  <a:pt x="3264" y="3566"/>
                  <a:pt x="3270" y="3507"/>
                </a:cubicBezTo>
                <a:cubicBezTo>
                  <a:pt x="3272" y="3492"/>
                  <a:pt x="3273" y="3477"/>
                  <a:pt x="3273" y="3462"/>
                </a:cubicBezTo>
                <a:lnTo>
                  <a:pt x="3260" y="3462"/>
                </a:lnTo>
                <a:lnTo>
                  <a:pt x="3235" y="3403"/>
                </a:lnTo>
                <a:cubicBezTo>
                  <a:pt x="3218" y="3395"/>
                  <a:pt x="3195" y="3390"/>
                  <a:pt x="3164" y="3387"/>
                </a:cubicBezTo>
                <a:cubicBezTo>
                  <a:pt x="3144" y="3386"/>
                  <a:pt x="3122" y="3385"/>
                  <a:pt x="3095" y="3386"/>
                </a:cubicBezTo>
                <a:cubicBezTo>
                  <a:pt x="3002" y="3387"/>
                  <a:pt x="2956" y="3400"/>
                  <a:pt x="2933" y="3410"/>
                </a:cubicBezTo>
                <a:lnTo>
                  <a:pt x="2929" y="3420"/>
                </a:lnTo>
                <a:cubicBezTo>
                  <a:pt x="2928" y="3424"/>
                  <a:pt x="2927" y="3428"/>
                  <a:pt x="2926" y="3432"/>
                </a:cubicBezTo>
                <a:lnTo>
                  <a:pt x="3108" y="3432"/>
                </a:lnTo>
                <a:lnTo>
                  <a:pt x="3108" y="3512"/>
                </a:lnTo>
                <a:lnTo>
                  <a:pt x="2914" y="3512"/>
                </a:lnTo>
                <a:close/>
                <a:moveTo>
                  <a:pt x="3048" y="3623"/>
                </a:moveTo>
                <a:cubicBezTo>
                  <a:pt x="3040" y="3623"/>
                  <a:pt x="3031" y="3623"/>
                  <a:pt x="3024" y="3622"/>
                </a:cubicBezTo>
                <a:cubicBezTo>
                  <a:pt x="2927" y="3614"/>
                  <a:pt x="2891" y="3559"/>
                  <a:pt x="2890" y="3514"/>
                </a:cubicBezTo>
                <a:lnTo>
                  <a:pt x="2889" y="3469"/>
                </a:lnTo>
                <a:lnTo>
                  <a:pt x="2865" y="3470"/>
                </a:lnTo>
                <a:lnTo>
                  <a:pt x="2863" y="3410"/>
                </a:lnTo>
                <a:lnTo>
                  <a:pt x="2898" y="3409"/>
                </a:lnTo>
                <a:cubicBezTo>
                  <a:pt x="2916" y="3393"/>
                  <a:pt x="2965" y="3370"/>
                  <a:pt x="3094" y="3368"/>
                </a:cubicBezTo>
                <a:cubicBezTo>
                  <a:pt x="3122" y="3367"/>
                  <a:pt x="3146" y="3368"/>
                  <a:pt x="3167" y="3370"/>
                </a:cubicBezTo>
                <a:cubicBezTo>
                  <a:pt x="3215" y="3374"/>
                  <a:pt x="3249" y="3384"/>
                  <a:pt x="3270" y="3402"/>
                </a:cubicBezTo>
                <a:lnTo>
                  <a:pt x="3366" y="3400"/>
                </a:lnTo>
                <a:cubicBezTo>
                  <a:pt x="3367" y="3400"/>
                  <a:pt x="3368" y="3399"/>
                  <a:pt x="3369" y="3398"/>
                </a:cubicBezTo>
                <a:cubicBezTo>
                  <a:pt x="3397" y="3373"/>
                  <a:pt x="3450" y="3361"/>
                  <a:pt x="3539" y="3359"/>
                </a:cubicBezTo>
                <a:cubicBezTo>
                  <a:pt x="3571" y="3359"/>
                  <a:pt x="3599" y="3360"/>
                  <a:pt x="3624" y="3362"/>
                </a:cubicBezTo>
                <a:cubicBezTo>
                  <a:pt x="3691" y="3367"/>
                  <a:pt x="3723" y="3382"/>
                  <a:pt x="3738" y="3394"/>
                </a:cubicBezTo>
                <a:lnTo>
                  <a:pt x="3771" y="3393"/>
                </a:lnTo>
                <a:lnTo>
                  <a:pt x="3773" y="3453"/>
                </a:lnTo>
                <a:lnTo>
                  <a:pt x="3751" y="3453"/>
                </a:lnTo>
                <a:lnTo>
                  <a:pt x="3753" y="3499"/>
                </a:lnTo>
                <a:cubicBezTo>
                  <a:pt x="3754" y="3540"/>
                  <a:pt x="3722" y="3611"/>
                  <a:pt x="3596" y="3613"/>
                </a:cubicBezTo>
                <a:cubicBezTo>
                  <a:pt x="3574" y="3613"/>
                  <a:pt x="3553" y="3613"/>
                  <a:pt x="3533" y="3611"/>
                </a:cubicBezTo>
                <a:cubicBezTo>
                  <a:pt x="3426" y="3602"/>
                  <a:pt x="3359" y="3564"/>
                  <a:pt x="3349" y="3508"/>
                </a:cubicBezTo>
                <a:cubicBezTo>
                  <a:pt x="3346" y="3490"/>
                  <a:pt x="3344" y="3475"/>
                  <a:pt x="3344" y="3461"/>
                </a:cubicBezTo>
                <a:lnTo>
                  <a:pt x="3296" y="3462"/>
                </a:lnTo>
                <a:cubicBezTo>
                  <a:pt x="3297" y="3477"/>
                  <a:pt x="3296" y="3493"/>
                  <a:pt x="3294" y="3509"/>
                </a:cubicBezTo>
                <a:cubicBezTo>
                  <a:pt x="3286" y="3578"/>
                  <a:pt x="3196" y="3620"/>
                  <a:pt x="3054" y="3623"/>
                </a:cubicBezTo>
                <a:cubicBezTo>
                  <a:pt x="3052" y="3623"/>
                  <a:pt x="3050" y="3623"/>
                  <a:pt x="3048" y="3623"/>
                </a:cubicBezTo>
                <a:close/>
                <a:moveTo>
                  <a:pt x="3318" y="2906"/>
                </a:moveTo>
                <a:cubicBezTo>
                  <a:pt x="3381" y="2906"/>
                  <a:pt x="3442" y="2916"/>
                  <a:pt x="3499" y="2935"/>
                </a:cubicBezTo>
                <a:lnTo>
                  <a:pt x="3770" y="2423"/>
                </a:lnTo>
                <a:lnTo>
                  <a:pt x="3228" y="1461"/>
                </a:lnTo>
                <a:cubicBezTo>
                  <a:pt x="3212" y="1468"/>
                  <a:pt x="3193" y="1472"/>
                  <a:pt x="3174" y="1472"/>
                </a:cubicBezTo>
                <a:cubicBezTo>
                  <a:pt x="3130" y="1472"/>
                  <a:pt x="3090" y="1451"/>
                  <a:pt x="3064" y="1419"/>
                </a:cubicBezTo>
                <a:cubicBezTo>
                  <a:pt x="2848" y="1553"/>
                  <a:pt x="2632" y="1686"/>
                  <a:pt x="2417" y="1820"/>
                </a:cubicBezTo>
                <a:cubicBezTo>
                  <a:pt x="2425" y="1838"/>
                  <a:pt x="2430" y="1858"/>
                  <a:pt x="2430" y="1880"/>
                </a:cubicBezTo>
                <a:cubicBezTo>
                  <a:pt x="2430" y="1950"/>
                  <a:pt x="2378" y="2009"/>
                  <a:pt x="2310" y="2020"/>
                </a:cubicBezTo>
                <a:lnTo>
                  <a:pt x="2338" y="2846"/>
                </a:lnTo>
                <a:lnTo>
                  <a:pt x="2833" y="3165"/>
                </a:lnTo>
                <a:cubicBezTo>
                  <a:pt x="2854" y="3133"/>
                  <a:pt x="2878" y="3104"/>
                  <a:pt x="2904" y="3078"/>
                </a:cubicBezTo>
                <a:cubicBezTo>
                  <a:pt x="3010" y="2972"/>
                  <a:pt x="3157" y="2906"/>
                  <a:pt x="3318" y="2906"/>
                </a:cubicBezTo>
                <a:close/>
                <a:moveTo>
                  <a:pt x="3532" y="2947"/>
                </a:moveTo>
                <a:cubicBezTo>
                  <a:pt x="3608" y="2976"/>
                  <a:pt x="3675" y="3021"/>
                  <a:pt x="3732" y="3078"/>
                </a:cubicBezTo>
                <a:cubicBezTo>
                  <a:pt x="3771" y="3117"/>
                  <a:pt x="3805" y="3163"/>
                  <a:pt x="3832" y="3213"/>
                </a:cubicBezTo>
                <a:lnTo>
                  <a:pt x="4142" y="3083"/>
                </a:lnTo>
                <a:lnTo>
                  <a:pt x="3791" y="2460"/>
                </a:lnTo>
                <a:lnTo>
                  <a:pt x="3532" y="2947"/>
                </a:lnTo>
                <a:close/>
                <a:moveTo>
                  <a:pt x="2959" y="3953"/>
                </a:moveTo>
                <a:cubicBezTo>
                  <a:pt x="2940" y="3938"/>
                  <a:pt x="2921" y="3922"/>
                  <a:pt x="2904" y="3905"/>
                </a:cubicBezTo>
                <a:cubicBezTo>
                  <a:pt x="2799" y="3799"/>
                  <a:pt x="2733" y="3653"/>
                  <a:pt x="2733" y="3491"/>
                </a:cubicBezTo>
                <a:cubicBezTo>
                  <a:pt x="2733" y="3383"/>
                  <a:pt x="2763" y="3281"/>
                  <a:pt x="2814" y="3194"/>
                </a:cubicBezTo>
                <a:lnTo>
                  <a:pt x="2339" y="2889"/>
                </a:lnTo>
                <a:lnTo>
                  <a:pt x="2407" y="4913"/>
                </a:lnTo>
                <a:cubicBezTo>
                  <a:pt x="2420" y="4914"/>
                  <a:pt x="2433" y="4917"/>
                  <a:pt x="2445" y="4921"/>
                </a:cubicBezTo>
                <a:lnTo>
                  <a:pt x="2959" y="3953"/>
                </a:lnTo>
                <a:close/>
                <a:moveTo>
                  <a:pt x="3682" y="3127"/>
                </a:moveTo>
                <a:cubicBezTo>
                  <a:pt x="3589" y="3034"/>
                  <a:pt x="3460" y="2977"/>
                  <a:pt x="3318" y="2977"/>
                </a:cubicBezTo>
                <a:cubicBezTo>
                  <a:pt x="3176" y="2977"/>
                  <a:pt x="3047" y="3034"/>
                  <a:pt x="2954" y="3127"/>
                </a:cubicBezTo>
                <a:cubicBezTo>
                  <a:pt x="2861" y="3220"/>
                  <a:pt x="2804" y="3349"/>
                  <a:pt x="2804" y="3491"/>
                </a:cubicBezTo>
                <a:cubicBezTo>
                  <a:pt x="2804" y="3633"/>
                  <a:pt x="2861" y="3762"/>
                  <a:pt x="2954" y="3855"/>
                </a:cubicBezTo>
                <a:cubicBezTo>
                  <a:pt x="3047" y="3948"/>
                  <a:pt x="3176" y="4006"/>
                  <a:pt x="3318" y="4006"/>
                </a:cubicBezTo>
                <a:cubicBezTo>
                  <a:pt x="3460" y="4006"/>
                  <a:pt x="3589" y="3948"/>
                  <a:pt x="3682" y="3855"/>
                </a:cubicBezTo>
                <a:cubicBezTo>
                  <a:pt x="3775" y="3762"/>
                  <a:pt x="3832" y="3633"/>
                  <a:pt x="3832" y="3491"/>
                </a:cubicBezTo>
                <a:cubicBezTo>
                  <a:pt x="3832" y="3349"/>
                  <a:pt x="3775" y="3220"/>
                  <a:pt x="3682" y="3127"/>
                </a:cubicBezTo>
                <a:close/>
                <a:moveTo>
                  <a:pt x="7638" y="2863"/>
                </a:moveTo>
                <a:cubicBezTo>
                  <a:pt x="7800" y="2863"/>
                  <a:pt x="7946" y="2929"/>
                  <a:pt x="8052" y="3035"/>
                </a:cubicBezTo>
                <a:cubicBezTo>
                  <a:pt x="8158" y="3140"/>
                  <a:pt x="8223" y="3287"/>
                  <a:pt x="8223" y="3448"/>
                </a:cubicBezTo>
                <a:cubicBezTo>
                  <a:pt x="8223" y="3456"/>
                  <a:pt x="8223" y="3464"/>
                  <a:pt x="8223" y="3472"/>
                </a:cubicBezTo>
                <a:lnTo>
                  <a:pt x="11263" y="3628"/>
                </a:lnTo>
                <a:cubicBezTo>
                  <a:pt x="11264" y="3623"/>
                  <a:pt x="11265" y="3619"/>
                  <a:pt x="11266" y="3614"/>
                </a:cubicBezTo>
                <a:lnTo>
                  <a:pt x="7269" y="1915"/>
                </a:lnTo>
                <a:cubicBezTo>
                  <a:pt x="7254" y="1942"/>
                  <a:pt x="7231" y="1962"/>
                  <a:pt x="7203" y="1974"/>
                </a:cubicBezTo>
                <a:lnTo>
                  <a:pt x="7467" y="2889"/>
                </a:lnTo>
                <a:cubicBezTo>
                  <a:pt x="7521" y="2872"/>
                  <a:pt x="7579" y="2863"/>
                  <a:pt x="7638" y="2863"/>
                </a:cubicBezTo>
                <a:close/>
                <a:moveTo>
                  <a:pt x="7087" y="3645"/>
                </a:moveTo>
                <a:cubicBezTo>
                  <a:pt x="7065" y="3584"/>
                  <a:pt x="7053" y="3517"/>
                  <a:pt x="7053" y="3448"/>
                </a:cubicBezTo>
                <a:cubicBezTo>
                  <a:pt x="7053" y="3287"/>
                  <a:pt x="7119" y="3140"/>
                  <a:pt x="7225" y="3035"/>
                </a:cubicBezTo>
                <a:cubicBezTo>
                  <a:pt x="7284" y="2976"/>
                  <a:pt x="7355" y="2930"/>
                  <a:pt x="7434" y="2900"/>
                </a:cubicBezTo>
                <a:lnTo>
                  <a:pt x="7169" y="1984"/>
                </a:lnTo>
                <a:cubicBezTo>
                  <a:pt x="7162" y="1985"/>
                  <a:pt x="7154" y="1986"/>
                  <a:pt x="7147" y="1986"/>
                </a:cubicBezTo>
                <a:cubicBezTo>
                  <a:pt x="7129" y="1986"/>
                  <a:pt x="7113" y="1983"/>
                  <a:pt x="7097" y="1977"/>
                </a:cubicBezTo>
                <a:lnTo>
                  <a:pt x="6013" y="4064"/>
                </a:lnTo>
                <a:lnTo>
                  <a:pt x="7087" y="3645"/>
                </a:lnTo>
                <a:close/>
                <a:moveTo>
                  <a:pt x="8002" y="3084"/>
                </a:moveTo>
                <a:cubicBezTo>
                  <a:pt x="7909" y="2991"/>
                  <a:pt x="7780" y="2934"/>
                  <a:pt x="7638" y="2934"/>
                </a:cubicBezTo>
                <a:cubicBezTo>
                  <a:pt x="7496" y="2934"/>
                  <a:pt x="7368" y="2991"/>
                  <a:pt x="7275" y="3084"/>
                </a:cubicBezTo>
                <a:cubicBezTo>
                  <a:pt x="7181" y="3178"/>
                  <a:pt x="7124" y="3306"/>
                  <a:pt x="7124" y="3448"/>
                </a:cubicBezTo>
                <a:cubicBezTo>
                  <a:pt x="7124" y="3590"/>
                  <a:pt x="7181" y="3719"/>
                  <a:pt x="7275" y="3812"/>
                </a:cubicBezTo>
                <a:cubicBezTo>
                  <a:pt x="7368" y="3905"/>
                  <a:pt x="7496" y="3963"/>
                  <a:pt x="7638" y="3963"/>
                </a:cubicBezTo>
                <a:cubicBezTo>
                  <a:pt x="7780" y="3963"/>
                  <a:pt x="7909" y="3905"/>
                  <a:pt x="8002" y="3812"/>
                </a:cubicBezTo>
                <a:cubicBezTo>
                  <a:pt x="8095" y="3719"/>
                  <a:pt x="8153" y="3590"/>
                  <a:pt x="8153" y="3448"/>
                </a:cubicBezTo>
                <a:cubicBezTo>
                  <a:pt x="8153" y="3306"/>
                  <a:pt x="8095" y="3178"/>
                  <a:pt x="8002" y="3084"/>
                </a:cubicBezTo>
                <a:close/>
                <a:moveTo>
                  <a:pt x="7875" y="3566"/>
                </a:moveTo>
                <a:lnTo>
                  <a:pt x="7799" y="3567"/>
                </a:lnTo>
                <a:lnTo>
                  <a:pt x="7799" y="3487"/>
                </a:lnTo>
                <a:lnTo>
                  <a:pt x="7875" y="3486"/>
                </a:lnTo>
                <a:lnTo>
                  <a:pt x="7951" y="3486"/>
                </a:lnTo>
                <a:lnTo>
                  <a:pt x="7952" y="3566"/>
                </a:lnTo>
                <a:lnTo>
                  <a:pt x="7875" y="3566"/>
                </a:lnTo>
                <a:close/>
                <a:moveTo>
                  <a:pt x="7637" y="3318"/>
                </a:moveTo>
                <a:lnTo>
                  <a:pt x="7400" y="3320"/>
                </a:lnTo>
                <a:lnTo>
                  <a:pt x="7382" y="3320"/>
                </a:lnTo>
                <a:lnTo>
                  <a:pt x="7400" y="3284"/>
                </a:lnTo>
                <a:lnTo>
                  <a:pt x="7445" y="3195"/>
                </a:lnTo>
                <a:lnTo>
                  <a:pt x="7636" y="3194"/>
                </a:lnTo>
                <a:lnTo>
                  <a:pt x="7828" y="3193"/>
                </a:lnTo>
                <a:lnTo>
                  <a:pt x="7874" y="3282"/>
                </a:lnTo>
                <a:lnTo>
                  <a:pt x="7893" y="3317"/>
                </a:lnTo>
                <a:lnTo>
                  <a:pt x="7874" y="3317"/>
                </a:lnTo>
                <a:lnTo>
                  <a:pt x="7637" y="3318"/>
                </a:lnTo>
                <a:close/>
                <a:moveTo>
                  <a:pt x="7401" y="3569"/>
                </a:moveTo>
                <a:lnTo>
                  <a:pt x="7325" y="3569"/>
                </a:lnTo>
                <a:lnTo>
                  <a:pt x="7325" y="3489"/>
                </a:lnTo>
                <a:lnTo>
                  <a:pt x="7401" y="3489"/>
                </a:lnTo>
                <a:lnTo>
                  <a:pt x="7477" y="3488"/>
                </a:lnTo>
                <a:lnTo>
                  <a:pt x="7478" y="3568"/>
                </a:lnTo>
                <a:lnTo>
                  <a:pt x="7401" y="3569"/>
                </a:lnTo>
                <a:close/>
                <a:moveTo>
                  <a:pt x="8021" y="3626"/>
                </a:moveTo>
                <a:lnTo>
                  <a:pt x="8019" y="3363"/>
                </a:lnTo>
                <a:lnTo>
                  <a:pt x="7942" y="3279"/>
                </a:lnTo>
                <a:lnTo>
                  <a:pt x="7873" y="3144"/>
                </a:lnTo>
                <a:lnTo>
                  <a:pt x="7402" y="3144"/>
                </a:lnTo>
                <a:lnTo>
                  <a:pt x="7399" y="3153"/>
                </a:lnTo>
                <a:lnTo>
                  <a:pt x="7332" y="3282"/>
                </a:lnTo>
                <a:lnTo>
                  <a:pt x="7255" y="3367"/>
                </a:lnTo>
                <a:lnTo>
                  <a:pt x="7257" y="3612"/>
                </a:lnTo>
                <a:lnTo>
                  <a:pt x="7257" y="3631"/>
                </a:lnTo>
                <a:lnTo>
                  <a:pt x="7257" y="3718"/>
                </a:lnTo>
                <a:cubicBezTo>
                  <a:pt x="7257" y="3737"/>
                  <a:pt x="7273" y="3753"/>
                  <a:pt x="7292" y="3753"/>
                </a:cubicBezTo>
                <a:lnTo>
                  <a:pt x="7402" y="3752"/>
                </a:lnTo>
                <a:lnTo>
                  <a:pt x="7404" y="3752"/>
                </a:lnTo>
                <a:cubicBezTo>
                  <a:pt x="7423" y="3752"/>
                  <a:pt x="7439" y="3736"/>
                  <a:pt x="7439" y="3717"/>
                </a:cubicBezTo>
                <a:lnTo>
                  <a:pt x="7439" y="3630"/>
                </a:lnTo>
                <a:lnTo>
                  <a:pt x="7639" y="3628"/>
                </a:lnTo>
                <a:lnTo>
                  <a:pt x="7839" y="3627"/>
                </a:lnTo>
                <a:lnTo>
                  <a:pt x="7839" y="3715"/>
                </a:lnTo>
                <a:cubicBezTo>
                  <a:pt x="7839" y="3734"/>
                  <a:pt x="7855" y="3750"/>
                  <a:pt x="7874" y="3750"/>
                </a:cubicBezTo>
                <a:lnTo>
                  <a:pt x="7877" y="3750"/>
                </a:lnTo>
                <a:lnTo>
                  <a:pt x="7986" y="3749"/>
                </a:lnTo>
                <a:cubicBezTo>
                  <a:pt x="8006" y="3749"/>
                  <a:pt x="8021" y="3733"/>
                  <a:pt x="8021" y="3714"/>
                </a:cubicBezTo>
                <a:lnTo>
                  <a:pt x="8021" y="3626"/>
                </a:lnTo>
                <a:close/>
                <a:moveTo>
                  <a:pt x="5749" y="1608"/>
                </a:moveTo>
                <a:cubicBezTo>
                  <a:pt x="5756" y="1601"/>
                  <a:pt x="5762" y="1591"/>
                  <a:pt x="5762" y="1581"/>
                </a:cubicBezTo>
                <a:cubicBezTo>
                  <a:pt x="5762" y="1564"/>
                  <a:pt x="5750" y="1550"/>
                  <a:pt x="5738" y="1545"/>
                </a:cubicBezTo>
                <a:lnTo>
                  <a:pt x="5738" y="1334"/>
                </a:lnTo>
                <a:lnTo>
                  <a:pt x="5746" y="1330"/>
                </a:lnTo>
                <a:lnTo>
                  <a:pt x="5738" y="1327"/>
                </a:lnTo>
                <a:lnTo>
                  <a:pt x="5738" y="1324"/>
                </a:lnTo>
                <a:lnTo>
                  <a:pt x="5731" y="1324"/>
                </a:lnTo>
                <a:lnTo>
                  <a:pt x="5373" y="1165"/>
                </a:lnTo>
                <a:lnTo>
                  <a:pt x="4991" y="1334"/>
                </a:lnTo>
                <a:lnTo>
                  <a:pt x="5366" y="1503"/>
                </a:lnTo>
                <a:lnTo>
                  <a:pt x="5714" y="1345"/>
                </a:lnTo>
                <a:lnTo>
                  <a:pt x="5714" y="1545"/>
                </a:lnTo>
                <a:cubicBezTo>
                  <a:pt x="5690" y="1550"/>
                  <a:pt x="5687" y="1564"/>
                  <a:pt x="5687" y="1580"/>
                </a:cubicBezTo>
                <a:cubicBezTo>
                  <a:pt x="5687" y="1592"/>
                  <a:pt x="5692" y="1603"/>
                  <a:pt x="5700" y="1610"/>
                </a:cubicBezTo>
                <a:cubicBezTo>
                  <a:pt x="5692" y="1635"/>
                  <a:pt x="5680" y="1691"/>
                  <a:pt x="5688" y="1750"/>
                </a:cubicBezTo>
                <a:lnTo>
                  <a:pt x="5761" y="1750"/>
                </a:lnTo>
                <a:cubicBezTo>
                  <a:pt x="5769" y="1691"/>
                  <a:pt x="5757" y="1632"/>
                  <a:pt x="5749" y="1608"/>
                </a:cubicBezTo>
                <a:close/>
                <a:moveTo>
                  <a:pt x="5146" y="1435"/>
                </a:moveTo>
                <a:lnTo>
                  <a:pt x="5146" y="1685"/>
                </a:lnTo>
                <a:cubicBezTo>
                  <a:pt x="5206" y="1748"/>
                  <a:pt x="5312" y="1758"/>
                  <a:pt x="5347" y="1760"/>
                </a:cubicBezTo>
                <a:lnTo>
                  <a:pt x="5347" y="1760"/>
                </a:lnTo>
                <a:cubicBezTo>
                  <a:pt x="5347" y="1760"/>
                  <a:pt x="5356" y="1760"/>
                  <a:pt x="5359" y="1760"/>
                </a:cubicBezTo>
                <a:cubicBezTo>
                  <a:pt x="5363" y="1760"/>
                  <a:pt x="5371" y="1760"/>
                  <a:pt x="5371" y="1760"/>
                </a:cubicBezTo>
                <a:lnTo>
                  <a:pt x="5371" y="1760"/>
                </a:lnTo>
                <a:cubicBezTo>
                  <a:pt x="5395" y="1758"/>
                  <a:pt x="5513" y="1748"/>
                  <a:pt x="5572" y="1685"/>
                </a:cubicBezTo>
                <a:lnTo>
                  <a:pt x="5572" y="1435"/>
                </a:lnTo>
                <a:cubicBezTo>
                  <a:pt x="5572" y="1437"/>
                  <a:pt x="5394" y="1521"/>
                  <a:pt x="5359" y="1538"/>
                </a:cubicBezTo>
                <a:cubicBezTo>
                  <a:pt x="5324" y="1521"/>
                  <a:pt x="5146" y="1437"/>
                  <a:pt x="5146" y="1435"/>
                </a:cubicBezTo>
                <a:close/>
                <a:moveTo>
                  <a:pt x="4797" y="1545"/>
                </a:moveTo>
                <a:cubicBezTo>
                  <a:pt x="4797" y="1547"/>
                  <a:pt x="4798" y="1549"/>
                  <a:pt x="4798" y="1551"/>
                </a:cubicBezTo>
                <a:cubicBezTo>
                  <a:pt x="4798" y="1549"/>
                  <a:pt x="4797" y="1547"/>
                  <a:pt x="4797" y="1545"/>
                </a:cubicBezTo>
                <a:close/>
                <a:moveTo>
                  <a:pt x="4802" y="1575"/>
                </a:moveTo>
                <a:lnTo>
                  <a:pt x="4803" y="1579"/>
                </a:lnTo>
                <a:lnTo>
                  <a:pt x="4380" y="1592"/>
                </a:lnTo>
                <a:cubicBezTo>
                  <a:pt x="4373" y="1664"/>
                  <a:pt x="4312" y="1720"/>
                  <a:pt x="4238" y="1720"/>
                </a:cubicBezTo>
                <a:cubicBezTo>
                  <a:pt x="4221" y="1720"/>
                  <a:pt x="4204" y="1717"/>
                  <a:pt x="4188" y="1711"/>
                </a:cubicBezTo>
                <a:lnTo>
                  <a:pt x="3810" y="2423"/>
                </a:lnTo>
                <a:lnTo>
                  <a:pt x="4175" y="3069"/>
                </a:lnTo>
                <a:lnTo>
                  <a:pt x="5261" y="2615"/>
                </a:lnTo>
                <a:lnTo>
                  <a:pt x="5357" y="2054"/>
                </a:lnTo>
                <a:cubicBezTo>
                  <a:pt x="5203" y="2049"/>
                  <a:pt x="5065" y="1985"/>
                  <a:pt x="4964" y="1883"/>
                </a:cubicBezTo>
                <a:cubicBezTo>
                  <a:pt x="4881" y="1801"/>
                  <a:pt x="4823" y="1694"/>
                  <a:pt x="4802" y="1575"/>
                </a:cubicBezTo>
                <a:close/>
                <a:moveTo>
                  <a:pt x="5364" y="2055"/>
                </a:moveTo>
                <a:cubicBezTo>
                  <a:pt x="5366" y="2055"/>
                  <a:pt x="5367" y="2055"/>
                  <a:pt x="5369" y="2055"/>
                </a:cubicBezTo>
                <a:cubicBezTo>
                  <a:pt x="5367" y="2055"/>
                  <a:pt x="5366" y="2055"/>
                  <a:pt x="5364" y="2055"/>
                </a:cubicBezTo>
                <a:close/>
                <a:moveTo>
                  <a:pt x="5370" y="2055"/>
                </a:moveTo>
                <a:cubicBezTo>
                  <a:pt x="5373" y="2055"/>
                  <a:pt x="5375" y="2055"/>
                  <a:pt x="5377" y="2055"/>
                </a:cubicBezTo>
                <a:cubicBezTo>
                  <a:pt x="5375" y="2055"/>
                  <a:pt x="5373" y="2055"/>
                  <a:pt x="5370" y="2055"/>
                </a:cubicBezTo>
                <a:close/>
                <a:moveTo>
                  <a:pt x="5377" y="2055"/>
                </a:moveTo>
                <a:cubicBezTo>
                  <a:pt x="5380" y="2055"/>
                  <a:pt x="5382" y="2055"/>
                  <a:pt x="5384" y="2055"/>
                </a:cubicBezTo>
                <a:cubicBezTo>
                  <a:pt x="5382" y="2055"/>
                  <a:pt x="5380" y="2055"/>
                  <a:pt x="5377" y="2055"/>
                </a:cubicBezTo>
                <a:close/>
                <a:moveTo>
                  <a:pt x="5385" y="2055"/>
                </a:moveTo>
                <a:cubicBezTo>
                  <a:pt x="5388" y="2055"/>
                  <a:pt x="5390" y="2055"/>
                  <a:pt x="5392" y="2055"/>
                </a:cubicBezTo>
                <a:cubicBezTo>
                  <a:pt x="5390" y="2055"/>
                  <a:pt x="5388" y="2055"/>
                  <a:pt x="5385" y="2055"/>
                </a:cubicBezTo>
                <a:close/>
                <a:moveTo>
                  <a:pt x="5392" y="2055"/>
                </a:moveTo>
                <a:lnTo>
                  <a:pt x="5299" y="2599"/>
                </a:lnTo>
                <a:lnTo>
                  <a:pt x="7010" y="1882"/>
                </a:lnTo>
                <a:cubicBezTo>
                  <a:pt x="7007" y="1870"/>
                  <a:pt x="7005" y="1857"/>
                  <a:pt x="7005" y="1844"/>
                </a:cubicBezTo>
                <a:cubicBezTo>
                  <a:pt x="7005" y="1794"/>
                  <a:pt x="7030" y="1751"/>
                  <a:pt x="7069" y="1725"/>
                </a:cubicBezTo>
                <a:lnTo>
                  <a:pt x="6856" y="1287"/>
                </a:lnTo>
                <a:cubicBezTo>
                  <a:pt x="6841" y="1292"/>
                  <a:pt x="6826" y="1294"/>
                  <a:pt x="6810" y="1294"/>
                </a:cubicBezTo>
                <a:cubicBezTo>
                  <a:pt x="6751" y="1294"/>
                  <a:pt x="6701" y="1259"/>
                  <a:pt x="6679" y="1208"/>
                </a:cubicBezTo>
                <a:lnTo>
                  <a:pt x="5960" y="1417"/>
                </a:lnTo>
                <a:cubicBezTo>
                  <a:pt x="5960" y="1415"/>
                  <a:pt x="5959" y="1413"/>
                  <a:pt x="5959" y="1411"/>
                </a:cubicBezTo>
                <a:cubicBezTo>
                  <a:pt x="5961" y="1430"/>
                  <a:pt x="5962" y="1450"/>
                  <a:pt x="5962" y="1470"/>
                </a:cubicBezTo>
                <a:cubicBezTo>
                  <a:pt x="5962" y="1631"/>
                  <a:pt x="5897" y="1778"/>
                  <a:pt x="5791" y="1883"/>
                </a:cubicBezTo>
                <a:cubicBezTo>
                  <a:pt x="5688" y="1986"/>
                  <a:pt x="5548" y="2051"/>
                  <a:pt x="5392" y="2055"/>
                </a:cubicBezTo>
                <a:close/>
                <a:moveTo>
                  <a:pt x="5959" y="1409"/>
                </a:moveTo>
                <a:cubicBezTo>
                  <a:pt x="5959" y="1407"/>
                  <a:pt x="5959" y="1405"/>
                  <a:pt x="5958" y="1403"/>
                </a:cubicBezTo>
                <a:cubicBezTo>
                  <a:pt x="5959" y="1405"/>
                  <a:pt x="5959" y="1407"/>
                  <a:pt x="5959" y="1409"/>
                </a:cubicBezTo>
                <a:close/>
                <a:moveTo>
                  <a:pt x="5958" y="1402"/>
                </a:moveTo>
                <a:cubicBezTo>
                  <a:pt x="5958" y="1400"/>
                  <a:pt x="5958" y="1398"/>
                  <a:pt x="5958" y="1396"/>
                </a:cubicBezTo>
                <a:cubicBezTo>
                  <a:pt x="5958" y="1398"/>
                  <a:pt x="5958" y="1400"/>
                  <a:pt x="5958" y="1402"/>
                </a:cubicBezTo>
                <a:close/>
                <a:moveTo>
                  <a:pt x="5957" y="1395"/>
                </a:moveTo>
                <a:cubicBezTo>
                  <a:pt x="5957" y="1393"/>
                  <a:pt x="5957" y="1390"/>
                  <a:pt x="5957" y="1388"/>
                </a:cubicBezTo>
                <a:cubicBezTo>
                  <a:pt x="5957" y="1390"/>
                  <a:pt x="5957" y="1393"/>
                  <a:pt x="5957" y="1395"/>
                </a:cubicBezTo>
                <a:close/>
                <a:moveTo>
                  <a:pt x="5956" y="1388"/>
                </a:moveTo>
                <a:cubicBezTo>
                  <a:pt x="5956" y="1386"/>
                  <a:pt x="5956" y="1384"/>
                  <a:pt x="5956" y="1382"/>
                </a:cubicBezTo>
                <a:cubicBezTo>
                  <a:pt x="5956" y="1384"/>
                  <a:pt x="5956" y="1386"/>
                  <a:pt x="5956" y="1388"/>
                </a:cubicBezTo>
                <a:close/>
                <a:moveTo>
                  <a:pt x="5741" y="1106"/>
                </a:moveTo>
                <a:cubicBezTo>
                  <a:pt x="5648" y="1013"/>
                  <a:pt x="5519" y="955"/>
                  <a:pt x="5377" y="955"/>
                </a:cubicBezTo>
                <a:cubicBezTo>
                  <a:pt x="5235" y="955"/>
                  <a:pt x="5107" y="1013"/>
                  <a:pt x="5014" y="1106"/>
                </a:cubicBezTo>
                <a:cubicBezTo>
                  <a:pt x="4920" y="1199"/>
                  <a:pt x="4863" y="1328"/>
                  <a:pt x="4863" y="1470"/>
                </a:cubicBezTo>
                <a:cubicBezTo>
                  <a:pt x="4863" y="1612"/>
                  <a:pt x="4920" y="1741"/>
                  <a:pt x="5014" y="1834"/>
                </a:cubicBezTo>
                <a:cubicBezTo>
                  <a:pt x="5107" y="1927"/>
                  <a:pt x="5235" y="1984"/>
                  <a:pt x="5377" y="1984"/>
                </a:cubicBezTo>
                <a:cubicBezTo>
                  <a:pt x="5519" y="1984"/>
                  <a:pt x="5648" y="1927"/>
                  <a:pt x="5741" y="1834"/>
                </a:cubicBezTo>
                <a:cubicBezTo>
                  <a:pt x="5834" y="1741"/>
                  <a:pt x="5892" y="1612"/>
                  <a:pt x="5892" y="1470"/>
                </a:cubicBezTo>
                <a:cubicBezTo>
                  <a:pt x="5892" y="1328"/>
                  <a:pt x="5834" y="1199"/>
                  <a:pt x="5741" y="1106"/>
                </a:cubicBezTo>
                <a:close/>
                <a:moveTo>
                  <a:pt x="4205" y="407"/>
                </a:moveTo>
                <a:lnTo>
                  <a:pt x="4204" y="601"/>
                </a:lnTo>
                <a:lnTo>
                  <a:pt x="4132" y="610"/>
                </a:lnTo>
                <a:lnTo>
                  <a:pt x="4133" y="407"/>
                </a:lnTo>
                <a:lnTo>
                  <a:pt x="4205" y="407"/>
                </a:lnTo>
                <a:close/>
                <a:moveTo>
                  <a:pt x="4581" y="552"/>
                </a:moveTo>
                <a:lnTo>
                  <a:pt x="4499" y="563"/>
                </a:lnTo>
                <a:lnTo>
                  <a:pt x="4499" y="409"/>
                </a:lnTo>
                <a:lnTo>
                  <a:pt x="4581" y="409"/>
                </a:lnTo>
                <a:lnTo>
                  <a:pt x="4581" y="552"/>
                </a:lnTo>
                <a:close/>
                <a:moveTo>
                  <a:pt x="4372" y="408"/>
                </a:moveTo>
                <a:lnTo>
                  <a:pt x="4459" y="408"/>
                </a:lnTo>
                <a:lnTo>
                  <a:pt x="4458" y="568"/>
                </a:lnTo>
                <a:lnTo>
                  <a:pt x="4371" y="579"/>
                </a:lnTo>
                <a:lnTo>
                  <a:pt x="4372" y="408"/>
                </a:lnTo>
                <a:close/>
                <a:moveTo>
                  <a:pt x="4331" y="585"/>
                </a:moveTo>
                <a:lnTo>
                  <a:pt x="4244" y="596"/>
                </a:lnTo>
                <a:lnTo>
                  <a:pt x="4245" y="408"/>
                </a:lnTo>
                <a:lnTo>
                  <a:pt x="4332" y="408"/>
                </a:lnTo>
                <a:lnTo>
                  <a:pt x="4331" y="585"/>
                </a:lnTo>
                <a:close/>
                <a:moveTo>
                  <a:pt x="4629" y="687"/>
                </a:moveTo>
                <a:lnTo>
                  <a:pt x="4132" y="685"/>
                </a:lnTo>
                <a:lnTo>
                  <a:pt x="4132" y="661"/>
                </a:lnTo>
                <a:lnTo>
                  <a:pt x="4589" y="602"/>
                </a:lnTo>
                <a:cubicBezTo>
                  <a:pt x="4613" y="598"/>
                  <a:pt x="4630" y="579"/>
                  <a:pt x="4631" y="555"/>
                </a:cubicBezTo>
                <a:lnTo>
                  <a:pt x="4631" y="404"/>
                </a:lnTo>
                <a:cubicBezTo>
                  <a:pt x="4631" y="379"/>
                  <a:pt x="4611" y="359"/>
                  <a:pt x="4586" y="359"/>
                </a:cubicBezTo>
                <a:lnTo>
                  <a:pt x="4133" y="357"/>
                </a:lnTo>
                <a:lnTo>
                  <a:pt x="4134" y="322"/>
                </a:lnTo>
                <a:cubicBezTo>
                  <a:pt x="4134" y="291"/>
                  <a:pt x="4109" y="267"/>
                  <a:pt x="4078" y="267"/>
                </a:cubicBezTo>
                <a:lnTo>
                  <a:pt x="3990" y="266"/>
                </a:lnTo>
                <a:cubicBezTo>
                  <a:pt x="3970" y="266"/>
                  <a:pt x="3955" y="282"/>
                  <a:pt x="3955" y="301"/>
                </a:cubicBezTo>
                <a:cubicBezTo>
                  <a:pt x="3955" y="321"/>
                  <a:pt x="3970" y="337"/>
                  <a:pt x="3990" y="337"/>
                </a:cubicBezTo>
                <a:lnTo>
                  <a:pt x="4063" y="337"/>
                </a:lnTo>
                <a:lnTo>
                  <a:pt x="4061" y="700"/>
                </a:lnTo>
                <a:cubicBezTo>
                  <a:pt x="4061" y="731"/>
                  <a:pt x="4086" y="756"/>
                  <a:pt x="4117" y="756"/>
                </a:cubicBezTo>
                <a:lnTo>
                  <a:pt x="4629" y="758"/>
                </a:lnTo>
                <a:cubicBezTo>
                  <a:pt x="4648" y="758"/>
                  <a:pt x="4664" y="742"/>
                  <a:pt x="4664" y="723"/>
                </a:cubicBezTo>
                <a:cubicBezTo>
                  <a:pt x="4664" y="703"/>
                  <a:pt x="4648" y="687"/>
                  <a:pt x="4629" y="687"/>
                </a:cubicBezTo>
                <a:close/>
                <a:moveTo>
                  <a:pt x="4222" y="763"/>
                </a:moveTo>
                <a:cubicBezTo>
                  <a:pt x="4183" y="763"/>
                  <a:pt x="4152" y="794"/>
                  <a:pt x="4152" y="833"/>
                </a:cubicBezTo>
                <a:cubicBezTo>
                  <a:pt x="4152" y="871"/>
                  <a:pt x="4183" y="902"/>
                  <a:pt x="4221" y="903"/>
                </a:cubicBezTo>
                <a:cubicBezTo>
                  <a:pt x="4260" y="903"/>
                  <a:pt x="4291" y="872"/>
                  <a:pt x="4291" y="833"/>
                </a:cubicBezTo>
                <a:cubicBezTo>
                  <a:pt x="4291" y="795"/>
                  <a:pt x="4260" y="763"/>
                  <a:pt x="4222" y="763"/>
                </a:cubicBezTo>
                <a:close/>
                <a:moveTo>
                  <a:pt x="4558" y="764"/>
                </a:moveTo>
                <a:cubicBezTo>
                  <a:pt x="4520" y="764"/>
                  <a:pt x="4488" y="795"/>
                  <a:pt x="4488" y="834"/>
                </a:cubicBezTo>
                <a:cubicBezTo>
                  <a:pt x="4488" y="872"/>
                  <a:pt x="4519" y="904"/>
                  <a:pt x="4557" y="904"/>
                </a:cubicBezTo>
                <a:cubicBezTo>
                  <a:pt x="4596" y="904"/>
                  <a:pt x="4627" y="873"/>
                  <a:pt x="4627" y="835"/>
                </a:cubicBezTo>
                <a:cubicBezTo>
                  <a:pt x="4628" y="796"/>
                  <a:pt x="4597" y="765"/>
                  <a:pt x="4558" y="764"/>
                </a:cubicBezTo>
                <a:close/>
                <a:moveTo>
                  <a:pt x="3780" y="834"/>
                </a:moveTo>
                <a:lnTo>
                  <a:pt x="3086" y="951"/>
                </a:lnTo>
                <a:cubicBezTo>
                  <a:pt x="3086" y="953"/>
                  <a:pt x="3086" y="955"/>
                  <a:pt x="3086" y="957"/>
                </a:cubicBezTo>
                <a:cubicBezTo>
                  <a:pt x="3086" y="1002"/>
                  <a:pt x="3065" y="1042"/>
                  <a:pt x="3033" y="1068"/>
                </a:cubicBezTo>
                <a:lnTo>
                  <a:pt x="3115" y="1201"/>
                </a:lnTo>
                <a:cubicBezTo>
                  <a:pt x="3133" y="1193"/>
                  <a:pt x="3153" y="1188"/>
                  <a:pt x="3174" y="1188"/>
                </a:cubicBezTo>
                <a:cubicBezTo>
                  <a:pt x="3253" y="1188"/>
                  <a:pt x="3316" y="1251"/>
                  <a:pt x="3316" y="1330"/>
                </a:cubicBezTo>
                <a:cubicBezTo>
                  <a:pt x="3316" y="1377"/>
                  <a:pt x="3294" y="1418"/>
                  <a:pt x="3259" y="1444"/>
                </a:cubicBezTo>
                <a:lnTo>
                  <a:pt x="3790" y="2386"/>
                </a:lnTo>
                <a:lnTo>
                  <a:pt x="4157" y="1694"/>
                </a:lnTo>
                <a:cubicBezTo>
                  <a:pt x="4120" y="1669"/>
                  <a:pt x="4097" y="1626"/>
                  <a:pt x="4097" y="1578"/>
                </a:cubicBezTo>
                <a:cubicBezTo>
                  <a:pt x="4097" y="1502"/>
                  <a:pt x="4157" y="1439"/>
                  <a:pt x="4233" y="1436"/>
                </a:cubicBezTo>
                <a:lnTo>
                  <a:pt x="4255" y="1167"/>
                </a:lnTo>
                <a:cubicBezTo>
                  <a:pt x="4115" y="1155"/>
                  <a:pt x="3990" y="1092"/>
                  <a:pt x="3896" y="999"/>
                </a:cubicBezTo>
                <a:cubicBezTo>
                  <a:pt x="3848" y="951"/>
                  <a:pt x="3809" y="896"/>
                  <a:pt x="3780" y="834"/>
                </a:cubicBezTo>
                <a:close/>
                <a:moveTo>
                  <a:pt x="4673" y="221"/>
                </a:moveTo>
                <a:cubicBezTo>
                  <a:pt x="4580" y="128"/>
                  <a:pt x="4451" y="71"/>
                  <a:pt x="4309" y="71"/>
                </a:cubicBezTo>
                <a:cubicBezTo>
                  <a:pt x="4167" y="71"/>
                  <a:pt x="4039" y="128"/>
                  <a:pt x="3946" y="221"/>
                </a:cubicBezTo>
                <a:cubicBezTo>
                  <a:pt x="3853" y="314"/>
                  <a:pt x="3795" y="443"/>
                  <a:pt x="3795" y="585"/>
                </a:cubicBezTo>
                <a:cubicBezTo>
                  <a:pt x="3795" y="727"/>
                  <a:pt x="3853" y="856"/>
                  <a:pt x="3946" y="949"/>
                </a:cubicBezTo>
                <a:cubicBezTo>
                  <a:pt x="4039" y="1042"/>
                  <a:pt x="4167" y="1099"/>
                  <a:pt x="4309" y="1099"/>
                </a:cubicBezTo>
                <a:cubicBezTo>
                  <a:pt x="4451" y="1099"/>
                  <a:pt x="4580" y="1042"/>
                  <a:pt x="4673" y="949"/>
                </a:cubicBezTo>
                <a:cubicBezTo>
                  <a:pt x="4766" y="856"/>
                  <a:pt x="4824" y="727"/>
                  <a:pt x="4824" y="585"/>
                </a:cubicBezTo>
                <a:cubicBezTo>
                  <a:pt x="4824" y="443"/>
                  <a:pt x="4766" y="314"/>
                  <a:pt x="4673" y="221"/>
                </a:cubicBezTo>
                <a:close/>
                <a:moveTo>
                  <a:pt x="1564" y="2349"/>
                </a:moveTo>
                <a:lnTo>
                  <a:pt x="1776" y="2485"/>
                </a:lnTo>
                <a:lnTo>
                  <a:pt x="2186" y="1978"/>
                </a:lnTo>
                <a:cubicBezTo>
                  <a:pt x="2161" y="1952"/>
                  <a:pt x="2146" y="1918"/>
                  <a:pt x="2146" y="1880"/>
                </a:cubicBezTo>
                <a:cubicBezTo>
                  <a:pt x="2146" y="1839"/>
                  <a:pt x="2163" y="1802"/>
                  <a:pt x="2191" y="1776"/>
                </a:cubicBezTo>
                <a:lnTo>
                  <a:pt x="1984" y="1490"/>
                </a:lnTo>
                <a:cubicBezTo>
                  <a:pt x="1963" y="1501"/>
                  <a:pt x="1940" y="1507"/>
                  <a:pt x="1915" y="1507"/>
                </a:cubicBezTo>
                <a:cubicBezTo>
                  <a:pt x="1865" y="1507"/>
                  <a:pt x="1822" y="1481"/>
                  <a:pt x="1796" y="1443"/>
                </a:cubicBezTo>
                <a:lnTo>
                  <a:pt x="1429" y="1621"/>
                </a:lnTo>
                <a:cubicBezTo>
                  <a:pt x="1434" y="1635"/>
                  <a:pt x="1437" y="1651"/>
                  <a:pt x="1437" y="1667"/>
                </a:cubicBezTo>
                <a:cubicBezTo>
                  <a:pt x="1437" y="1728"/>
                  <a:pt x="1398" y="1780"/>
                  <a:pt x="1343" y="1800"/>
                </a:cubicBezTo>
                <a:lnTo>
                  <a:pt x="1422" y="2146"/>
                </a:lnTo>
                <a:cubicBezTo>
                  <a:pt x="1427" y="2146"/>
                  <a:pt x="1432" y="2146"/>
                  <a:pt x="1437" y="2146"/>
                </a:cubicBezTo>
                <a:cubicBezTo>
                  <a:pt x="1515" y="2146"/>
                  <a:pt x="1578" y="2209"/>
                  <a:pt x="1578" y="2287"/>
                </a:cubicBezTo>
                <a:cubicBezTo>
                  <a:pt x="1578" y="2309"/>
                  <a:pt x="1573" y="2330"/>
                  <a:pt x="1564" y="2349"/>
                </a:cubicBezTo>
                <a:close/>
                <a:moveTo>
                  <a:pt x="1806" y="2504"/>
                </a:moveTo>
                <a:lnTo>
                  <a:pt x="2302" y="2823"/>
                </a:lnTo>
                <a:lnTo>
                  <a:pt x="2275" y="2021"/>
                </a:lnTo>
                <a:cubicBezTo>
                  <a:pt x="2252" y="2019"/>
                  <a:pt x="2231" y="2011"/>
                  <a:pt x="2213" y="2000"/>
                </a:cubicBezTo>
                <a:lnTo>
                  <a:pt x="1806" y="2504"/>
                </a:lnTo>
                <a:close/>
                <a:moveTo>
                  <a:pt x="6805" y="9677"/>
                </a:moveTo>
                <a:lnTo>
                  <a:pt x="7377" y="9625"/>
                </a:lnTo>
                <a:cubicBezTo>
                  <a:pt x="7378" y="9613"/>
                  <a:pt x="7379" y="9602"/>
                  <a:pt x="7382" y="9592"/>
                </a:cubicBezTo>
                <a:lnTo>
                  <a:pt x="6842" y="9371"/>
                </a:lnTo>
                <a:lnTo>
                  <a:pt x="6805" y="9677"/>
                </a:lnTo>
                <a:close/>
                <a:moveTo>
                  <a:pt x="6891" y="8675"/>
                </a:moveTo>
                <a:lnTo>
                  <a:pt x="4927" y="8539"/>
                </a:lnTo>
                <a:cubicBezTo>
                  <a:pt x="4927" y="8542"/>
                  <a:pt x="4926" y="8546"/>
                  <a:pt x="4925" y="8549"/>
                </a:cubicBezTo>
                <a:lnTo>
                  <a:pt x="6813" y="9321"/>
                </a:lnTo>
                <a:lnTo>
                  <a:pt x="6891" y="8675"/>
                </a:lnTo>
                <a:close/>
                <a:moveTo>
                  <a:pt x="7381" y="9659"/>
                </a:moveTo>
                <a:lnTo>
                  <a:pt x="6801" y="9713"/>
                </a:lnTo>
                <a:lnTo>
                  <a:pt x="6744" y="10191"/>
                </a:lnTo>
                <a:lnTo>
                  <a:pt x="7317" y="10519"/>
                </a:lnTo>
                <a:cubicBezTo>
                  <a:pt x="7342" y="10486"/>
                  <a:pt x="7381" y="10464"/>
                  <a:pt x="7426" y="10463"/>
                </a:cubicBezTo>
                <a:lnTo>
                  <a:pt x="7489" y="9768"/>
                </a:lnTo>
                <a:cubicBezTo>
                  <a:pt x="7435" y="9756"/>
                  <a:pt x="7392" y="9713"/>
                  <a:pt x="7381" y="9659"/>
                </a:cubicBezTo>
                <a:close/>
              </a:path>
            </a:pathLst>
          </a:custGeom>
          <a:gradFill>
            <a:gsLst>
              <a:gs pos="0">
                <a:schemeClr val="accent2">
                  <a:lumMod val="20000"/>
                  <a:lumOff val="80000"/>
                  <a:alpha val="48000"/>
                </a:schemeClr>
              </a:gs>
              <a:gs pos="100000">
                <a:schemeClr val="accent2">
                  <a:lumMod val="20000"/>
                  <a:lumOff val="80000"/>
                  <a:alpha val="28000"/>
                </a:schemeClr>
              </a:gs>
            </a:gsLst>
            <a:lin ang="5400000" scaled="1"/>
          </a:gradFill>
          <a:ln>
            <a:solidFill>
              <a:schemeClr val="bg2">
                <a:lumMod val="95000"/>
              </a:schemeClr>
            </a:solidFill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7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98538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2" y="4903663"/>
            <a:ext cx="9144000" cy="256478"/>
            <a:chOff x="1833416" y="3320291"/>
            <a:chExt cx="10260013" cy="954054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490" y="176148"/>
            <a:ext cx="8794113" cy="282626"/>
          </a:xfrm>
        </p:spPr>
        <p:txBody>
          <a:bodyPr/>
          <a:lstStyle>
            <a:lvl1pPr>
              <a:defRPr sz="1837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4999383"/>
            <a:ext cx="123432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pt-BR" sz="61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9952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47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02" t="1631" r="802" b="1822"/>
          <a:stretch/>
        </p:blipFill>
        <p:spPr>
          <a:xfrm>
            <a:off x="1" y="0"/>
            <a:ext cx="9164291" cy="4903662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2" y="4903663"/>
            <a:ext cx="9144000" cy="256478"/>
            <a:chOff x="1833416" y="3320291"/>
            <a:chExt cx="10260013" cy="954054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490" y="176148"/>
            <a:ext cx="8794113" cy="282626"/>
          </a:xfrm>
        </p:spPr>
        <p:txBody>
          <a:bodyPr/>
          <a:lstStyle>
            <a:lvl1pPr>
              <a:defRPr sz="1837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4999383"/>
            <a:ext cx="123432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pt-BR" sz="61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33001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" y="1"/>
            <a:ext cx="9143838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176148"/>
            <a:ext cx="8794113" cy="282626"/>
          </a:xfrm>
        </p:spPr>
        <p:txBody>
          <a:bodyPr/>
          <a:lstStyle>
            <a:lvl1pPr>
              <a:defRPr sz="183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0" y="4980359"/>
            <a:ext cx="123432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pt-BR" sz="61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74757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176148"/>
            <a:ext cx="8794113" cy="282626"/>
          </a:xfrm>
        </p:spPr>
        <p:txBody>
          <a:bodyPr/>
          <a:lstStyle>
            <a:lvl1pPr>
              <a:defRPr sz="1837"/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742187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Conteúdo" type="obj">
  <p:cSld name="Título e Conteúdo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 txBox="1">
            <a:spLocks noGrp="1"/>
          </p:cNvSpPr>
          <p:nvPr>
            <p:ph type="title"/>
          </p:nvPr>
        </p:nvSpPr>
        <p:spPr>
          <a:xfrm>
            <a:off x="1" y="7713"/>
            <a:ext cx="9144000" cy="688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255896" y="826722"/>
            <a:ext cx="8628923" cy="3830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342899" lvl="0" indent="-257174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797" lvl="1" indent="-25717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696" lvl="2" indent="-25717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595" lvl="3" indent="-25717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493" lvl="4" indent="-25717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392" lvl="5" indent="-25717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290" lvl="6" indent="-25717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190" lvl="7" indent="-25717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087" lvl="8" indent="-25717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ftr" idx="11"/>
          </p:nvPr>
        </p:nvSpPr>
        <p:spPr>
          <a:xfrm>
            <a:off x="255894" y="4767263"/>
            <a:ext cx="8096400" cy="37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defTabSz="342900"/>
            <a:endParaRPr lang="pt-BR" sz="1350">
              <a:solidFill>
                <a:srgbClr val="000000"/>
              </a:solidFill>
            </a:endParaRPr>
          </a:p>
        </p:txBody>
      </p:sp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8352429" y="4767263"/>
            <a:ext cx="532247" cy="37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ct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ct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ct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ct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ct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ct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ct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ct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342900"/>
            <a:fld id="{00000000-1234-1234-1234-123412341234}" type="slidenum">
              <a:rPr lang="pt-BR" smtClean="0"/>
              <a:pPr defTabSz="342900"/>
              <a:t>‹nº›</a:t>
            </a:fld>
            <a:endParaRPr lang="pt-BR"/>
          </a:p>
        </p:txBody>
      </p:sp>
      <p:cxnSp>
        <p:nvCxnSpPr>
          <p:cNvPr id="23" name="Shape 23"/>
          <p:cNvCxnSpPr/>
          <p:nvPr/>
        </p:nvCxnSpPr>
        <p:spPr>
          <a:xfrm>
            <a:off x="1" y="685800"/>
            <a:ext cx="9144000" cy="0"/>
          </a:xfrm>
          <a:prstGeom prst="straightConnector1">
            <a:avLst/>
          </a:prstGeom>
          <a:noFill/>
          <a:ln>
            <a:noFill/>
          </a:ln>
          <a:effectLst>
            <a:glow rad="101600">
              <a:srgbClr val="000000">
                <a:alpha val="60000"/>
              </a:srgbClr>
            </a:glow>
            <a:outerShdw blurRad="107950" dist="12700" dir="5400000" algn="ctr">
              <a:srgbClr val="000000"/>
            </a:outerShdw>
          </a:effectLst>
        </p:spPr>
      </p:cxnSp>
      <p:cxnSp>
        <p:nvCxnSpPr>
          <p:cNvPr id="24" name="Shape 24"/>
          <p:cNvCxnSpPr/>
          <p:nvPr/>
        </p:nvCxnSpPr>
        <p:spPr>
          <a:xfrm>
            <a:off x="1" y="716508"/>
            <a:ext cx="9144000" cy="0"/>
          </a:xfrm>
          <a:prstGeom prst="straightConnector1">
            <a:avLst/>
          </a:prstGeom>
          <a:noFill/>
          <a:ln w="57150" cap="flat" cmpd="sng">
            <a:solidFill>
              <a:srgbClr val="DDEAF6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3941951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3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37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009" y="1"/>
            <a:ext cx="6854991" cy="5143499"/>
          </a:xfrm>
          <a:prstGeom prst="rect">
            <a:avLst/>
          </a:prstGeom>
        </p:spPr>
      </p:pic>
      <p:sp>
        <p:nvSpPr>
          <p:cNvPr id="16" name="Freeform 15"/>
          <p:cNvSpPr/>
          <p:nvPr/>
        </p:nvSpPr>
        <p:spPr>
          <a:xfrm>
            <a:off x="15" y="-6452"/>
            <a:ext cx="5829479" cy="5149962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rgbClr val="1A5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783" tIns="34893" rIns="69783" bIns="34893" rtlCol="0" anchor="ctr"/>
          <a:lstStyle/>
          <a:p>
            <a:pPr marL="0" marR="0" lvl="0" indent="0" algn="ctr" defTabSz="68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3361686" y="-6456"/>
            <a:ext cx="2312297" cy="4000751"/>
          </a:xfrm>
          <a:prstGeom prst="line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5943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68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endParaRPr kumimoji="0" lang="x-none" sz="82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63865" y="177450"/>
            <a:ext cx="4179587" cy="93266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375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63885" y="2609993"/>
            <a:ext cx="2778892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30"/>
              </a:spcAft>
              <a:defRPr lang="x-none" sz="105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49461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643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8412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6871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9850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5879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16.xml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image" Target="../media/image5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6.xml"/><Relationship Id="rId9" Type="http://schemas.openxmlformats.org/officeDocument/2006/relationships/vmlDrawing" Target="../drawings/vmlDrawing5.v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39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29" Type="http://schemas.openxmlformats.org/officeDocument/2006/relationships/image" Target="../media/image5.emf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oleObject" Target="../embeddings/oleObject13.bin"/><Relationship Id="rId10" Type="http://schemas.openxmlformats.org/officeDocument/2006/relationships/vmlDrawing" Target="../drawings/vmlDrawing13.vml"/><Relationship Id="rId19" Type="http://schemas.openxmlformats.org/officeDocument/2006/relationships/tags" Target="../tags/tag37.x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4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E51425-7E18-4331-BF46-55910AB1AA0E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9416A1-408B-41E1-953D-34A2232186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05217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6" r:id="rId12"/>
    <p:sldLayoutId id="2147483698" r:id="rId13"/>
    <p:sldLayoutId id="2147483699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905227" y="2222500"/>
            <a:ext cx="2236394" cy="2406650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3159" y="3365499"/>
            <a:ext cx="6400800" cy="113030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3159" y="514351"/>
            <a:ext cx="6400800" cy="27114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28309" y="4629150"/>
            <a:ext cx="1200150" cy="27384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5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defTabSz="342900"/>
            <a:fld id="{48A87A34-81AB-432B-8DAE-1953F412C126}" type="datetimeFigureOut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10/7/2021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3159" y="4629150"/>
            <a:ext cx="5657850" cy="27384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5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defTabSz="342900"/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72400" y="4183857"/>
            <a:ext cx="856684" cy="5024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4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defTabSz="342900"/>
            <a:fld id="{6D22F896-40B5-4ADD-8801-0D06FADFA095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 defTabSz="342900"/>
              <a:t>‹nº›</a:t>
            </a:fld>
            <a:endParaRPr lang="en-US" dirty="0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8127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xStyles>
    <p:titleStyle>
      <a:lvl1pPr algn="l" defTabSz="342900" rtl="0" eaLnBrk="1" latinLnBrk="0" hangingPunct="1">
        <a:spcBef>
          <a:spcPct val="0"/>
        </a:spcBef>
        <a:buNone/>
        <a:defRPr sz="27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5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35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2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05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05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05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05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05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05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7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7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63" name="Group 62" hidden="1"/>
          <p:cNvGrpSpPr/>
          <p:nvPr/>
        </p:nvGrpSpPr>
        <p:grpSpPr>
          <a:xfrm>
            <a:off x="20" y="4903687"/>
            <a:ext cx="9144000" cy="256478"/>
            <a:chOff x="1833416" y="3320291"/>
            <a:chExt cx="10260013" cy="954054"/>
          </a:xfrm>
        </p:grpSpPr>
        <p:sp>
          <p:nvSpPr>
            <p:cNvPr id="6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239167" y="1485727"/>
            <a:ext cx="1667123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04/10/2017 09:32 E. South America Standard Time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319318" y="3149204"/>
            <a:ext cx="1506823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18/09/2017 16:26 E. South America Standard Time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504" y="176148"/>
            <a:ext cx="8794113" cy="282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pt-BR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0" y="57978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00" b="0" i="0" u="none" strike="noStrike" kern="1200" cap="all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504" y="424607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21504" y="4798778"/>
            <a:ext cx="8794113" cy="297635"/>
            <a:chOff x="119063" y="6271011"/>
            <a:chExt cx="8618537" cy="38894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71011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8581" marR="0" lvl="0" indent="-78581" algn="l" defTabSz="67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39298"/>
              <a:ext cx="7200000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64949" marR="0" lvl="0" indent="-464949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80690" algn="l"/>
                </a:tabLst>
                <a:defRPr/>
              </a:pPr>
              <a:r>
                <a:rPr kumimoji="0" lang="pt-B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NTE: Font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493262"/>
            <a:ext cx="4389768" cy="82432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pt-BR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963692"/>
            <a:ext cx="4350891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ítulo</a:t>
              </a:r>
            </a:p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553370" y="218678"/>
            <a:ext cx="362219" cy="120033"/>
            <a:chOff x="8385788" y="285750"/>
            <a:chExt cx="354988" cy="1568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6859" y="285750"/>
              <a:ext cx="353917" cy="1568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pt-B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8" y="436561"/>
              <a:ext cx="354987" cy="0"/>
            </a:xfrm>
            <a:prstGeom prst="straightConnector1">
              <a:avLst/>
            </a:prstGeom>
            <a:noFill/>
            <a:ln w="254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50" y="4841896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739" tIns="34872" rIns="69739" bIns="34872" rtlCol="0" anchor="ctr"/>
          <a:lstStyle/>
          <a:p>
            <a:pPr marL="0" marR="0" lvl="0" indent="0" algn="ctr" defTabSz="6835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22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2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8076337" y="213832"/>
            <a:ext cx="643895" cy="760482"/>
            <a:chOff x="7835905" y="279400"/>
            <a:chExt cx="631040" cy="99379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762270" y="213818"/>
            <a:ext cx="958145" cy="556394"/>
            <a:chOff x="7540629" y="279400"/>
            <a:chExt cx="939015" cy="72709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35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8008301" y="191940"/>
            <a:ext cx="711929" cy="999791"/>
            <a:chOff x="7769225" y="250825"/>
            <a:chExt cx="697715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6835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7040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2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0853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</p:sldLayoutIdLst>
  <p:hf hdr="0" ftr="0" dt="0"/>
  <p:txStyles>
    <p:titleStyle>
      <a:lvl1pPr algn="l" defTabSz="682894" rtl="0" eaLnBrk="1" fontAlgn="base" hangingPunct="1">
        <a:spcBef>
          <a:spcPct val="0"/>
        </a:spcBef>
        <a:spcAft>
          <a:spcPct val="0"/>
        </a:spcAft>
        <a:tabLst>
          <a:tab pos="205836" algn="l"/>
        </a:tabLst>
        <a:defRPr sz="18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2894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2894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2894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2894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8697" algn="l" defTabSz="682894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7421" algn="l" defTabSz="682894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6135" algn="l" defTabSz="682894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4845" algn="l" defTabSz="682894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2894" rtl="0" eaLnBrk="1" fontAlgn="base" hangingPunct="1">
        <a:spcBef>
          <a:spcPct val="0"/>
        </a:spcBef>
        <a:spcAft>
          <a:spcPct val="0"/>
        </a:spcAft>
        <a:buClrTx/>
        <a:buSzPct val="100000"/>
        <a:defRPr sz="1050" baseline="0">
          <a:solidFill>
            <a:schemeClr val="tx1"/>
          </a:solidFill>
          <a:latin typeface="+mn-lt"/>
          <a:ea typeface="+mn-ea"/>
          <a:cs typeface="+mn-cs"/>
        </a:defRPr>
      </a:lvl1pPr>
      <a:lvl2pPr marL="147719" indent="-146510" algn="l" defTabSz="682894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050" baseline="0">
          <a:solidFill>
            <a:schemeClr val="tx1"/>
          </a:solidFill>
          <a:latin typeface="+mn-lt"/>
        </a:defRPr>
      </a:lvl2pPr>
      <a:lvl3pPr marL="348697" indent="-199784" algn="l" defTabSz="682894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050" baseline="0">
          <a:solidFill>
            <a:schemeClr val="tx1"/>
          </a:solidFill>
          <a:latin typeface="+mn-lt"/>
        </a:defRPr>
      </a:lvl3pPr>
      <a:lvl4pPr marL="468583" indent="-118662" algn="l" defTabSz="682894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050" baseline="0">
          <a:solidFill>
            <a:schemeClr val="tx1"/>
          </a:solidFill>
          <a:latin typeface="+mn-lt"/>
        </a:defRPr>
      </a:lvl4pPr>
      <a:lvl5pPr marL="571887" indent="-99286" algn="l" defTabSz="682894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050" baseline="0">
          <a:solidFill>
            <a:schemeClr val="tx1"/>
          </a:solidFill>
          <a:latin typeface="+mn-lt"/>
        </a:defRPr>
      </a:lvl5pPr>
      <a:lvl6pPr marL="571887" indent="-99286" algn="l" defTabSz="6828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1887" indent="-99286" algn="l" defTabSz="6828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1887" indent="-99286" algn="l" defTabSz="6828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1887" indent="-99286" algn="l" defTabSz="6828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69742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8697" algn="l" defTabSz="69742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7421" algn="l" defTabSz="69742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6135" algn="l" defTabSz="69742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4845" algn="l" defTabSz="69742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3557" algn="l" defTabSz="69742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2269" algn="l" defTabSz="69742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0981" algn="l" defTabSz="69742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89693" algn="l" defTabSz="69742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5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63" name="Group 62" hidden="1"/>
          <p:cNvGrpSpPr/>
          <p:nvPr/>
        </p:nvGrpSpPr>
        <p:grpSpPr>
          <a:xfrm>
            <a:off x="2" y="4903663"/>
            <a:ext cx="9144000" cy="256478"/>
            <a:chOff x="1833416" y="3320291"/>
            <a:chExt cx="10260013" cy="954054"/>
          </a:xfrm>
        </p:grpSpPr>
        <p:sp>
          <p:nvSpPr>
            <p:cNvPr id="6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236762" y="1485005"/>
            <a:ext cx="167193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9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28/09/2017 18:45 E. South America Standard Time</a:t>
            </a:r>
            <a:endParaRPr kumimoji="0" lang="pt-BR" sz="1224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317714" y="3148490"/>
            <a:ext cx="151002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9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18/09/2017 16:26 E. South America Standard Time</a:t>
            </a:r>
            <a:endParaRPr kumimoji="0" lang="pt-BR" sz="1224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0" y="176148"/>
            <a:ext cx="8794113" cy="282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pt-BR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0" y="57978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12" b="0" i="0" u="none" strike="noStrike" kern="1200" cap="all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0" y="424603"/>
            <a:ext cx="879411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21490" y="4796933"/>
            <a:ext cx="8794113" cy="299496"/>
            <a:chOff x="119063" y="6268580"/>
            <a:chExt cx="8618537" cy="39137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8580"/>
              <a:ext cx="8618537" cy="123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8581" marR="0" lvl="0" indent="-78581" algn="l" defTabSz="67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61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36868"/>
              <a:ext cx="7200000" cy="123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66481" marR="0" lvl="0" indent="-466481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82274" algn="l"/>
                </a:tabLst>
                <a:defRPr/>
              </a:pPr>
              <a:r>
                <a:rPr kumimoji="0" lang="pt-BR" sz="612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NTE: Font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493262"/>
            <a:ext cx="4389768" cy="8478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pt-BR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956403"/>
            <a:ext cx="4350891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24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ítulo</a:t>
              </a:r>
            </a:p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546023" y="218666"/>
            <a:ext cx="369578" cy="121893"/>
            <a:chOff x="8378576" y="285750"/>
            <a:chExt cx="362199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5" y="285750"/>
              <a:ext cx="361770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pt-BR" sz="61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5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8076334" y="213808"/>
            <a:ext cx="653513" cy="763239"/>
            <a:chOff x="7835905" y="279400"/>
            <a:chExt cx="640466" cy="997394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762261" y="213808"/>
            <a:ext cx="967763" cy="559152"/>
            <a:chOff x="7540629" y="279400"/>
            <a:chExt cx="948441" cy="730694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8008303" y="191940"/>
            <a:ext cx="721547" cy="999791"/>
            <a:chOff x="7769225" y="250825"/>
            <a:chExt cx="707141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3429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6466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84E"/>
                </a:buClr>
                <a:buSzTx/>
                <a:buFontTx/>
                <a:buNone/>
                <a:tabLst/>
                <a:defRPr/>
              </a:pPr>
              <a:r>
                <a:rPr kumimoji="0" lang="pt-BR" sz="9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34029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83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Tx/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071" baseline="0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071" baseline="0">
          <a:solidFill>
            <a:schemeClr val="tx1"/>
          </a:solidFill>
          <a:latin typeface="+mn-lt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32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15.jpe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F3AE25F-3392-4BE1-842E-F8F6DC35B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5812" y="26038"/>
            <a:ext cx="6127129" cy="1584176"/>
          </a:xfrm>
        </p:spPr>
        <p:txBody>
          <a:bodyPr>
            <a:normAutofit fontScale="90000"/>
          </a:bodyPr>
          <a:lstStyle/>
          <a:p>
            <a:pPr algn="ctr"/>
            <a:r>
              <a:rPr lang="pt-BR" b="1" dirty="0" smtClean="0"/>
              <a:t/>
            </a:r>
            <a:br>
              <a:rPr lang="pt-BR" b="1" dirty="0" smtClean="0"/>
            </a:br>
            <a:r>
              <a:rPr lang="pt-BR" cap="none" dirty="0" smtClean="0"/>
              <a:t>Comissão de Ciência, Tecnologia, Inovação, Comunicação e Informática do Senado Federal</a:t>
            </a:r>
            <a:br>
              <a:rPr lang="pt-BR" cap="none" dirty="0" smtClean="0"/>
            </a:br>
            <a:r>
              <a:rPr lang="pt-BR" cap="none" dirty="0"/>
              <a:t/>
            </a:r>
            <a:br>
              <a:rPr lang="pt-BR" cap="none" dirty="0"/>
            </a:br>
            <a:r>
              <a:rPr lang="pt-BR" cap="none" dirty="0" smtClean="0"/>
              <a:t>Audiência Pública sobre 5G – Leilão e Expectativas para implementação dessa tecnologia </a:t>
            </a:r>
            <a:r>
              <a:rPr lang="pt-BR" cap="none" dirty="0"/>
              <a:t>n</a:t>
            </a:r>
            <a:r>
              <a:rPr lang="pt-BR" cap="none" dirty="0" smtClean="0"/>
              <a:t>o País</a:t>
            </a:r>
            <a:r>
              <a:rPr lang="pt-BR" b="1" dirty="0"/>
              <a:t/>
            </a:r>
            <a:br>
              <a:rPr lang="pt-BR" b="1" dirty="0"/>
            </a:br>
            <a:endParaRPr lang="en-US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xmlns="" id="{A4E089BE-0865-45DB-B310-B4E33E04C02E}"/>
              </a:ext>
            </a:extLst>
          </p:cNvPr>
          <p:cNvSpPr txBox="1">
            <a:spLocks/>
          </p:cNvSpPr>
          <p:nvPr/>
        </p:nvSpPr>
        <p:spPr>
          <a:xfrm>
            <a:off x="5403315" y="4030165"/>
            <a:ext cx="1152128" cy="432047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None/>
              <a:defRPr sz="20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Bef>
                <a:spcPts val="750"/>
              </a:spcBef>
            </a:pPr>
            <a:r>
              <a:rPr lang="en-US" sz="15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/10/2021</a:t>
            </a:r>
            <a:endParaRPr lang="en-US" sz="15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4040386" y="3327250"/>
            <a:ext cx="38779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spcBef>
                <a:spcPts val="750"/>
              </a:spcBef>
            </a:pPr>
            <a:r>
              <a:rPr lang="en-US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bens </a:t>
            </a:r>
            <a:r>
              <a:rPr lang="en-US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etano Barbosa de Souza</a:t>
            </a:r>
            <a:endParaRPr lang="en-US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482" name="Picture 2" descr="Ministério da Ciência, Tecnologia e Inovações (@mctic) | Twitt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2924" y="3867894"/>
            <a:ext cx="1111076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270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2">
            <a:extLst>
              <a:ext uri="{FF2B5EF4-FFF2-40B4-BE49-F238E27FC236}">
                <a16:creationId xmlns:a16="http://schemas.microsoft.com/office/drawing/2014/main" xmlns="" id="{5A8498FA-9EAD-4C5F-9BE9-2DCBEB09C2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46" t="25433" r="52606" b="9549"/>
          <a:stretch/>
        </p:blipFill>
        <p:spPr bwMode="auto">
          <a:xfrm>
            <a:off x="2996817" y="971406"/>
            <a:ext cx="3077857" cy="311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3">
            <a:extLst>
              <a:ext uri="{FF2B5EF4-FFF2-40B4-BE49-F238E27FC236}">
                <a16:creationId xmlns:a16="http://schemas.microsoft.com/office/drawing/2014/main" xmlns="" id="{FF3A0A5D-2590-4704-B28B-61AD138668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3" y="976139"/>
            <a:ext cx="2979904" cy="3108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Retângulo 57">
            <a:extLst>
              <a:ext uri="{FF2B5EF4-FFF2-40B4-BE49-F238E27FC236}">
                <a16:creationId xmlns:a16="http://schemas.microsoft.com/office/drawing/2014/main" xmlns="" id="{5EC3BC57-11DA-4094-BBED-F3C7C6F0DD19}"/>
              </a:ext>
            </a:extLst>
          </p:cNvPr>
          <p:cNvSpPr/>
          <p:nvPr/>
        </p:nvSpPr>
        <p:spPr>
          <a:xfrm>
            <a:off x="2219682" y="4082147"/>
            <a:ext cx="4656574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pt-BR" b="1" dirty="0" smtClean="0">
                <a:solidFill>
                  <a:srgbClr val="D38A1F"/>
                </a:solidFill>
              </a:rPr>
              <a:t>Amarelo</a:t>
            </a:r>
            <a:r>
              <a:rPr lang="pt-BR" dirty="0" smtClean="0"/>
              <a:t> </a:t>
            </a:r>
            <a:r>
              <a:rPr lang="pt-BR" dirty="0"/>
              <a:t>-&gt; </a:t>
            </a:r>
            <a:r>
              <a:rPr lang="pt-BR" dirty="0" smtClean="0">
                <a:solidFill>
                  <a:srgbClr val="FFC000"/>
                </a:solidFill>
              </a:rPr>
              <a:t>2G     </a:t>
            </a:r>
            <a:r>
              <a:rPr lang="pt-BR" b="1" dirty="0" smtClean="0">
                <a:solidFill>
                  <a:srgbClr val="00B050"/>
                </a:solidFill>
              </a:rPr>
              <a:t>Verde</a:t>
            </a:r>
            <a:r>
              <a:rPr lang="pt-BR" dirty="0" smtClean="0"/>
              <a:t> </a:t>
            </a:r>
            <a:r>
              <a:rPr lang="pt-BR" dirty="0"/>
              <a:t>-&gt; </a:t>
            </a:r>
            <a:r>
              <a:rPr lang="pt-BR" dirty="0" smtClean="0">
                <a:solidFill>
                  <a:srgbClr val="00B050"/>
                </a:solidFill>
              </a:rPr>
              <a:t>3G   </a:t>
            </a:r>
            <a:r>
              <a:rPr lang="pt-BR" b="1" dirty="0" smtClean="0">
                <a:solidFill>
                  <a:srgbClr val="002060"/>
                </a:solidFill>
              </a:rPr>
              <a:t>Azul</a:t>
            </a:r>
            <a:r>
              <a:rPr lang="pt-BR" dirty="0" smtClean="0">
                <a:solidFill>
                  <a:srgbClr val="002060"/>
                </a:solidFill>
              </a:rPr>
              <a:t> </a:t>
            </a:r>
            <a:r>
              <a:rPr lang="pt-BR" dirty="0">
                <a:solidFill>
                  <a:srgbClr val="002060"/>
                </a:solidFill>
              </a:rPr>
              <a:t>-&gt; </a:t>
            </a:r>
            <a:r>
              <a:rPr lang="pt-BR" dirty="0" smtClean="0">
                <a:solidFill>
                  <a:srgbClr val="002060"/>
                </a:solidFill>
              </a:rPr>
              <a:t>4G</a:t>
            </a:r>
            <a:endParaRPr lang="pt-BR" dirty="0">
              <a:solidFill>
                <a:srgbClr val="002060"/>
              </a:solidFill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xmlns="" id="{E55ACD57-18D6-459A-A8A6-B4690687C3DE}"/>
              </a:ext>
            </a:extLst>
          </p:cNvPr>
          <p:cNvSpPr txBox="1"/>
          <p:nvPr/>
        </p:nvSpPr>
        <p:spPr>
          <a:xfrm>
            <a:off x="2185026" y="1085407"/>
            <a:ext cx="652743" cy="369332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pt-BR" dirty="0"/>
              <a:t>2015</a:t>
            </a: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xmlns="" id="{A6829976-02C7-4A58-B4B5-C48EDDC78150}"/>
              </a:ext>
            </a:extLst>
          </p:cNvPr>
          <p:cNvSpPr txBox="1"/>
          <p:nvPr/>
        </p:nvSpPr>
        <p:spPr>
          <a:xfrm>
            <a:off x="5310368" y="1085407"/>
            <a:ext cx="652743" cy="369332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pt-BR" dirty="0"/>
              <a:t>2018</a:t>
            </a:r>
          </a:p>
        </p:txBody>
      </p:sp>
      <p:sp>
        <p:nvSpPr>
          <p:cNvPr id="61" name="Retângulo 60">
            <a:extLst>
              <a:ext uri="{FF2B5EF4-FFF2-40B4-BE49-F238E27FC236}">
                <a16:creationId xmlns:a16="http://schemas.microsoft.com/office/drawing/2014/main" xmlns="" id="{E664EC0F-68B3-4D55-85CD-8409F365DE8D}"/>
              </a:ext>
            </a:extLst>
          </p:cNvPr>
          <p:cNvSpPr/>
          <p:nvPr/>
        </p:nvSpPr>
        <p:spPr>
          <a:xfrm>
            <a:off x="561985" y="4421521"/>
            <a:ext cx="3898824" cy="4001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r>
              <a:rPr lang="pt-BR" sz="2000" b="1" dirty="0"/>
              <a:t>3G: </a:t>
            </a:r>
            <a:r>
              <a:rPr lang="pt-BR" sz="2000" dirty="0"/>
              <a:t>&gt; </a:t>
            </a:r>
            <a:r>
              <a:rPr lang="pt-BR" sz="2000" dirty="0" smtClean="0"/>
              <a:t>5.525 cidades </a:t>
            </a:r>
            <a:r>
              <a:rPr lang="pt-BR" sz="2000" dirty="0"/>
              <a:t>(~</a:t>
            </a:r>
            <a:r>
              <a:rPr lang="pt-BR" sz="2000" dirty="0" smtClean="0"/>
              <a:t>99% </a:t>
            </a:r>
            <a:r>
              <a:rPr lang="pt-BR" sz="2000" dirty="0"/>
              <a:t>pop)</a:t>
            </a:r>
          </a:p>
        </p:txBody>
      </p:sp>
      <p:sp>
        <p:nvSpPr>
          <p:cNvPr id="62" name="Retângulo 61">
            <a:extLst>
              <a:ext uri="{FF2B5EF4-FFF2-40B4-BE49-F238E27FC236}">
                <a16:creationId xmlns:a16="http://schemas.microsoft.com/office/drawing/2014/main" xmlns="" id="{54D7F9A2-9819-4DFD-B398-374BEB637051}"/>
              </a:ext>
            </a:extLst>
          </p:cNvPr>
          <p:cNvSpPr/>
          <p:nvPr/>
        </p:nvSpPr>
        <p:spPr>
          <a:xfrm>
            <a:off x="4462694" y="4421521"/>
            <a:ext cx="3925531" cy="400110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pt-BR" sz="2000" b="1" dirty="0"/>
              <a:t>4G: </a:t>
            </a:r>
            <a:r>
              <a:rPr lang="pt-BR" sz="2000" dirty="0"/>
              <a:t>&gt; </a:t>
            </a:r>
            <a:r>
              <a:rPr lang="pt-BR" sz="2000" dirty="0" smtClean="0"/>
              <a:t>4.997 cidades </a:t>
            </a:r>
            <a:r>
              <a:rPr lang="pt-BR" sz="2000" dirty="0"/>
              <a:t>(~</a:t>
            </a:r>
            <a:r>
              <a:rPr lang="pt-BR" sz="2000" dirty="0" smtClean="0"/>
              <a:t>96% </a:t>
            </a:r>
            <a:r>
              <a:rPr lang="pt-BR" sz="2000" dirty="0"/>
              <a:t>pop)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9A26E065-48FE-4B52-B13F-0C7049863363}"/>
              </a:ext>
            </a:extLst>
          </p:cNvPr>
          <p:cNvSpPr/>
          <p:nvPr/>
        </p:nvSpPr>
        <p:spPr>
          <a:xfrm>
            <a:off x="0" y="4881349"/>
            <a:ext cx="5724128" cy="27699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pt-BR" sz="1200" b="1" dirty="0"/>
              <a:t>Note: </a:t>
            </a:r>
            <a:r>
              <a:rPr lang="en-US" sz="1200" dirty="0" smtClean="0"/>
              <a:t>O mapa indica apenas a presences do serviço no município. Fonte: </a:t>
            </a:r>
            <a:r>
              <a:rPr lang="en-US" sz="1200" dirty="0" err="1" smtClean="0"/>
              <a:t>Anatel</a:t>
            </a:r>
            <a:endParaRPr lang="pt-BR" sz="1200" dirty="0"/>
          </a:p>
        </p:txBody>
      </p:sp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179512" y="302048"/>
            <a:ext cx="6538727" cy="451386"/>
          </a:xfrm>
        </p:spPr>
        <p:txBody>
          <a:bodyPr/>
          <a:lstStyle/>
          <a:p>
            <a:r>
              <a:rPr lang="pt-BR" sz="2400" dirty="0" smtClean="0"/>
              <a:t>Evolução da cobertura de rede móvel no Brasil</a:t>
            </a:r>
            <a:endParaRPr lang="pt-BR" sz="2400" dirty="0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74674" y="971407"/>
            <a:ext cx="3069326" cy="3113398"/>
          </a:xfrm>
          <a:prstGeom prst="rect">
            <a:avLst/>
          </a:prstGeom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A6829976-02C7-4A58-B4B5-C48EDDC78150}"/>
              </a:ext>
            </a:extLst>
          </p:cNvPr>
          <p:cNvSpPr txBox="1"/>
          <p:nvPr/>
        </p:nvSpPr>
        <p:spPr>
          <a:xfrm>
            <a:off x="8388225" y="1058082"/>
            <a:ext cx="697627" cy="369332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pt-BR" dirty="0" smtClean="0"/>
              <a:t>202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93530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1">
            <a:extLst>
              <a:ext uri="{FF2B5EF4-FFF2-40B4-BE49-F238E27FC236}">
                <a16:creationId xmlns:a16="http://schemas.microsoft.com/office/drawing/2014/main" xmlns="" id="{4666D272-95AD-428B-BDB1-79D47D24CB3A}"/>
              </a:ext>
            </a:extLst>
          </p:cNvPr>
          <p:cNvSpPr/>
          <p:nvPr/>
        </p:nvSpPr>
        <p:spPr>
          <a:xfrm>
            <a:off x="0" y="0"/>
            <a:ext cx="9144000" cy="989402"/>
          </a:xfrm>
          <a:prstGeom prst="rect">
            <a:avLst/>
          </a:prstGeom>
          <a:gradFill flip="none" rotWithShape="1">
            <a:gsLst>
              <a:gs pos="26000">
                <a:schemeClr val="accent1">
                  <a:lumMod val="5000"/>
                  <a:lumOff val="95000"/>
                </a:schemeClr>
              </a:gs>
              <a:gs pos="62000">
                <a:schemeClr val="accent1">
                  <a:lumMod val="45000"/>
                  <a:lumOff val="5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91630"/>
            <a:ext cx="3275856" cy="266429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152" y="1491630"/>
            <a:ext cx="3203848" cy="2664295"/>
          </a:xfrm>
          <a:prstGeom prst="rect">
            <a:avLst/>
          </a:prstGeom>
        </p:spPr>
      </p:pic>
      <p:cxnSp>
        <p:nvCxnSpPr>
          <p:cNvPr id="15" name="Straight Arrow Connector 14"/>
          <p:cNvCxnSpPr/>
          <p:nvPr/>
        </p:nvCxnSpPr>
        <p:spPr>
          <a:xfrm>
            <a:off x="3275856" y="2630571"/>
            <a:ext cx="2664296" cy="13187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542078" y="2823777"/>
            <a:ext cx="2131852" cy="58477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Mai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15 km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é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um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roblema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4">
            <a:extLst>
              <a:ext uri="{FF2B5EF4-FFF2-40B4-BE49-F238E27FC236}">
                <a16:creationId xmlns:a16="http://schemas.microsoft.com/office/drawing/2014/main" xmlns="" id="{5F6DAEB9-ED2B-4325-B8EF-7CD3C5ACF4B3}"/>
              </a:ext>
            </a:extLst>
          </p:cNvPr>
          <p:cNvSpPr txBox="1"/>
          <p:nvPr/>
        </p:nvSpPr>
        <p:spPr>
          <a:xfrm>
            <a:off x="1479612" y="152803"/>
            <a:ext cx="6400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BR" sz="24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ficit </a:t>
            </a:r>
            <a:r>
              <a:rPr lang="pt-BR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conectividade no campo é uma barreira para utilização de tecnologias</a:t>
            </a:r>
          </a:p>
        </p:txBody>
      </p:sp>
    </p:spTree>
    <p:extLst>
      <p:ext uri="{BB962C8B-B14F-4D97-AF65-F5344CB8AC3E}">
        <p14:creationId xmlns:p14="http://schemas.microsoft.com/office/powerpoint/2010/main" val="2136919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1">
            <a:extLst>
              <a:ext uri="{FF2B5EF4-FFF2-40B4-BE49-F238E27FC236}">
                <a16:creationId xmlns:a16="http://schemas.microsoft.com/office/drawing/2014/main" xmlns="" id="{4666D272-95AD-428B-BDB1-79D47D24CB3A}"/>
              </a:ext>
            </a:extLst>
          </p:cNvPr>
          <p:cNvSpPr/>
          <p:nvPr/>
        </p:nvSpPr>
        <p:spPr>
          <a:xfrm>
            <a:off x="0" y="0"/>
            <a:ext cx="9144000" cy="989402"/>
          </a:xfrm>
          <a:prstGeom prst="rect">
            <a:avLst/>
          </a:prstGeom>
          <a:gradFill flip="none" rotWithShape="1">
            <a:gsLst>
              <a:gs pos="26000">
                <a:schemeClr val="accent1">
                  <a:lumMod val="5000"/>
                  <a:lumOff val="95000"/>
                </a:schemeClr>
              </a:gs>
              <a:gs pos="62000">
                <a:schemeClr val="accent1">
                  <a:lumMod val="45000"/>
                  <a:lumOff val="5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3101" y="1001119"/>
            <a:ext cx="7183321" cy="414238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" y="1564732"/>
            <a:ext cx="1950417" cy="300082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100" dirty="0" err="1"/>
              <a:t>Fazendas</a:t>
            </a:r>
            <a:r>
              <a:rPr lang="en-US" sz="2100" dirty="0"/>
              <a:t> de </a:t>
            </a:r>
            <a:r>
              <a:rPr lang="en-US" sz="2100" dirty="0" err="1"/>
              <a:t>grande</a:t>
            </a:r>
            <a:r>
              <a:rPr lang="en-US" sz="2100" dirty="0"/>
              <a:t> </a:t>
            </a:r>
            <a:r>
              <a:rPr lang="en-US" sz="2100" dirty="0" err="1"/>
              <a:t>extensão</a:t>
            </a:r>
            <a:r>
              <a:rPr lang="en-US" sz="2100" dirty="0"/>
              <a:t> </a:t>
            </a:r>
            <a:r>
              <a:rPr lang="en-US" sz="2100" dirty="0" err="1"/>
              <a:t>também</a:t>
            </a:r>
            <a:r>
              <a:rPr lang="en-US" sz="2100" dirty="0"/>
              <a:t> </a:t>
            </a:r>
            <a:r>
              <a:rPr lang="en-US" sz="2100" dirty="0" err="1"/>
              <a:t>têm</a:t>
            </a:r>
            <a:r>
              <a:rPr lang="en-US" sz="2100" dirty="0"/>
              <a:t> </a:t>
            </a:r>
            <a:r>
              <a:rPr lang="en-US" sz="2100" dirty="0" err="1"/>
              <a:t>problema</a:t>
            </a:r>
            <a:r>
              <a:rPr lang="en-US" sz="2100" dirty="0"/>
              <a:t> de </a:t>
            </a:r>
            <a:r>
              <a:rPr lang="en-US" sz="2100" dirty="0" err="1"/>
              <a:t>conectividade</a:t>
            </a:r>
            <a:r>
              <a:rPr lang="en-US" sz="2100" dirty="0"/>
              <a:t>, </a:t>
            </a:r>
            <a:r>
              <a:rPr lang="en-US" sz="2100" dirty="0" err="1"/>
              <a:t>mesmo</a:t>
            </a:r>
            <a:r>
              <a:rPr lang="en-US" sz="2100" dirty="0"/>
              <a:t> </a:t>
            </a:r>
            <a:r>
              <a:rPr lang="en-US" sz="2100" dirty="0" err="1"/>
              <a:t>que</a:t>
            </a:r>
            <a:r>
              <a:rPr lang="en-US" sz="2100" dirty="0"/>
              <a:t> a </a:t>
            </a:r>
            <a:r>
              <a:rPr lang="en-US" sz="2100" dirty="0" err="1"/>
              <a:t>sede</a:t>
            </a:r>
            <a:r>
              <a:rPr lang="en-US" sz="2100" dirty="0"/>
              <a:t> </a:t>
            </a:r>
            <a:r>
              <a:rPr lang="en-US" sz="2100" dirty="0" err="1"/>
              <a:t>tenha</a:t>
            </a:r>
            <a:r>
              <a:rPr lang="en-US" sz="2100" dirty="0"/>
              <a:t> </a:t>
            </a:r>
            <a:r>
              <a:rPr lang="en-US" sz="2100" dirty="0" err="1"/>
              <a:t>conectividade</a:t>
            </a:r>
            <a:endParaRPr lang="en-US" sz="2100" dirty="0"/>
          </a:p>
        </p:txBody>
      </p:sp>
      <p:sp>
        <p:nvSpPr>
          <p:cNvPr id="9" name="CaixaDeTexto 4">
            <a:extLst>
              <a:ext uri="{FF2B5EF4-FFF2-40B4-BE49-F238E27FC236}">
                <a16:creationId xmlns:a16="http://schemas.microsoft.com/office/drawing/2014/main" xmlns="" id="{5F6DAEB9-ED2B-4325-B8EF-7CD3C5ACF4B3}"/>
              </a:ext>
            </a:extLst>
          </p:cNvPr>
          <p:cNvSpPr txBox="1"/>
          <p:nvPr/>
        </p:nvSpPr>
        <p:spPr>
          <a:xfrm>
            <a:off x="22603" y="13812"/>
            <a:ext cx="6400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70C0"/>
                </a:solidFill>
              </a:rPr>
              <a:t>Déficit </a:t>
            </a:r>
            <a:r>
              <a:rPr lang="pt-BR" sz="2400" dirty="0">
                <a:solidFill>
                  <a:srgbClr val="0070C0"/>
                </a:solidFill>
              </a:rPr>
              <a:t>de conectividade no campo é uma barreira para utilização de tecnologias</a:t>
            </a:r>
          </a:p>
        </p:txBody>
      </p:sp>
    </p:spTree>
    <p:extLst>
      <p:ext uri="{BB962C8B-B14F-4D97-AF65-F5344CB8AC3E}">
        <p14:creationId xmlns:p14="http://schemas.microsoft.com/office/powerpoint/2010/main" val="1836774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1">
            <a:extLst>
              <a:ext uri="{FF2B5EF4-FFF2-40B4-BE49-F238E27FC236}">
                <a16:creationId xmlns:a16="http://schemas.microsoft.com/office/drawing/2014/main" xmlns="" id="{4666D272-95AD-428B-BDB1-79D47D24CB3A}"/>
              </a:ext>
            </a:extLst>
          </p:cNvPr>
          <p:cNvSpPr/>
          <p:nvPr/>
        </p:nvSpPr>
        <p:spPr>
          <a:xfrm>
            <a:off x="0" y="0"/>
            <a:ext cx="9144000" cy="989402"/>
          </a:xfrm>
          <a:prstGeom prst="rect">
            <a:avLst/>
          </a:prstGeom>
          <a:gradFill flip="none" rotWithShape="1">
            <a:gsLst>
              <a:gs pos="26000">
                <a:schemeClr val="accent1">
                  <a:lumMod val="5000"/>
                  <a:lumOff val="95000"/>
                </a:schemeClr>
              </a:gs>
              <a:gs pos="62000">
                <a:schemeClr val="accent1">
                  <a:lumMod val="45000"/>
                  <a:lumOff val="5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7" name="CaixaDeTexto 4">
            <a:extLst>
              <a:ext uri="{FF2B5EF4-FFF2-40B4-BE49-F238E27FC236}">
                <a16:creationId xmlns:a16="http://schemas.microsoft.com/office/drawing/2014/main" xmlns="" id="{5F6DAEB9-ED2B-4325-B8EF-7CD3C5ACF4B3}"/>
              </a:ext>
            </a:extLst>
          </p:cNvPr>
          <p:cNvSpPr txBox="1"/>
          <p:nvPr/>
        </p:nvSpPr>
        <p:spPr>
          <a:xfrm>
            <a:off x="1371600" y="125369"/>
            <a:ext cx="64007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BR" sz="2100" dirty="0" smtClean="0">
                <a:solidFill>
                  <a:srgbClr val="0070C0"/>
                </a:solidFill>
              </a:rPr>
              <a:t>Diminuir </a:t>
            </a:r>
            <a:r>
              <a:rPr lang="pt-BR" sz="2100" dirty="0">
                <a:solidFill>
                  <a:srgbClr val="0070C0"/>
                </a:solidFill>
              </a:rPr>
              <a:t>a desigualdade social, levando conectividade ao campo, também tem benefícios econômico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" y="1723471"/>
            <a:ext cx="461523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400" dirty="0" err="1"/>
              <a:t>Aplicações</a:t>
            </a:r>
            <a:r>
              <a:rPr lang="en-US" sz="2400" dirty="0"/>
              <a:t> </a:t>
            </a:r>
            <a:r>
              <a:rPr lang="en-US" sz="2400" dirty="0" err="1"/>
              <a:t>na</a:t>
            </a:r>
            <a:r>
              <a:rPr lang="en-US" sz="2400" dirty="0"/>
              <a:t> </a:t>
            </a:r>
            <a:r>
              <a:rPr lang="en-US" sz="2400" dirty="0" err="1"/>
              <a:t>área</a:t>
            </a:r>
            <a:r>
              <a:rPr lang="en-US" sz="2400" dirty="0"/>
              <a:t> da </a:t>
            </a:r>
            <a:r>
              <a:rPr lang="en-US" sz="2400" dirty="0" err="1"/>
              <a:t>educação</a:t>
            </a:r>
            <a:endParaRPr lang="en-US" sz="2400" dirty="0"/>
          </a:p>
          <a:p>
            <a:pPr marL="342900" indent="-342900">
              <a:buFont typeface="Arial"/>
              <a:buChar char="•"/>
            </a:pPr>
            <a:endParaRPr lang="en-US" sz="2400" dirty="0"/>
          </a:p>
          <a:p>
            <a:pPr marL="342900" indent="-342900">
              <a:buFont typeface="Arial"/>
              <a:buChar char="•"/>
            </a:pPr>
            <a:r>
              <a:rPr lang="en-US" sz="2400" dirty="0" err="1"/>
              <a:t>Aplicações</a:t>
            </a:r>
            <a:r>
              <a:rPr lang="en-US" sz="2400" dirty="0"/>
              <a:t> </a:t>
            </a:r>
            <a:r>
              <a:rPr lang="en-US" sz="2400" dirty="0" err="1"/>
              <a:t>na</a:t>
            </a:r>
            <a:r>
              <a:rPr lang="en-US" sz="2400" dirty="0"/>
              <a:t> </a:t>
            </a:r>
            <a:r>
              <a:rPr lang="en-US" sz="2400" dirty="0" err="1"/>
              <a:t>área</a:t>
            </a:r>
            <a:r>
              <a:rPr lang="en-US" sz="2400" dirty="0"/>
              <a:t> da </a:t>
            </a:r>
            <a:r>
              <a:rPr lang="en-US" sz="2400" dirty="0" err="1"/>
              <a:t>saúde</a:t>
            </a:r>
            <a:endParaRPr lang="en-US" sz="2400" dirty="0"/>
          </a:p>
          <a:p>
            <a:pPr marL="342900" indent="-342900">
              <a:buFont typeface="Arial"/>
              <a:buChar char="•"/>
            </a:pPr>
            <a:endParaRPr lang="en-US" sz="2400" dirty="0"/>
          </a:p>
          <a:p>
            <a:pPr marL="342900" indent="-342900">
              <a:buFont typeface="Arial"/>
              <a:buChar char="•"/>
            </a:pPr>
            <a:r>
              <a:rPr lang="en-US" sz="2400" dirty="0" err="1"/>
              <a:t>Aplicações</a:t>
            </a:r>
            <a:r>
              <a:rPr lang="en-US" sz="2400" dirty="0"/>
              <a:t> </a:t>
            </a:r>
            <a:r>
              <a:rPr lang="en-US" sz="2400" dirty="0" err="1"/>
              <a:t>para</a:t>
            </a:r>
            <a:r>
              <a:rPr lang="en-US" sz="2400" dirty="0"/>
              <a:t> </a:t>
            </a:r>
            <a:r>
              <a:rPr lang="en-US" sz="2400" dirty="0" err="1"/>
              <a:t>oferta</a:t>
            </a:r>
            <a:r>
              <a:rPr lang="en-US" sz="2400" dirty="0"/>
              <a:t> plena de  </a:t>
            </a:r>
            <a:r>
              <a:rPr lang="en-US" sz="2400" dirty="0" err="1"/>
              <a:t>cidadania</a:t>
            </a:r>
            <a:endParaRPr lang="en-US" sz="2400" dirty="0"/>
          </a:p>
        </p:txBody>
      </p:sp>
      <p:grpSp>
        <p:nvGrpSpPr>
          <p:cNvPr id="9" name="Group 8"/>
          <p:cNvGrpSpPr/>
          <p:nvPr/>
        </p:nvGrpSpPr>
        <p:grpSpPr>
          <a:xfrm>
            <a:off x="4739968" y="1357265"/>
            <a:ext cx="4298414" cy="3237358"/>
            <a:chOff x="4117095" y="1458550"/>
            <a:chExt cx="7998900" cy="5399450"/>
          </a:xfrm>
        </p:grpSpPr>
        <p:pic>
          <p:nvPicPr>
            <p:cNvPr id="10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7095" y="1458550"/>
              <a:ext cx="7998900" cy="5399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2" descr="E:\CRR - 5G\Apresentações\Luciano\5G Global Event\tablet_learning.png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034" t="10470" r="10337" b="7244"/>
            <a:stretch/>
          </p:blipFill>
          <p:spPr bwMode="auto">
            <a:xfrm>
              <a:off x="4920684" y="1765182"/>
              <a:ext cx="6405794" cy="478825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47826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27584" y="1707654"/>
            <a:ext cx="7488832" cy="1728192"/>
          </a:xfrm>
        </p:spPr>
        <p:txBody>
          <a:bodyPr>
            <a:normAutofit/>
          </a:bodyPr>
          <a:lstStyle/>
          <a:p>
            <a:r>
              <a:rPr lang="pt-BR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O que o Governo e o MCTI tem feito?</a:t>
            </a:r>
            <a:endParaRPr lang="pt-BR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007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533400"/>
            <a:ext cx="9744075" cy="6210300"/>
          </a:xfrm>
          <a:prstGeom prst="rect">
            <a:avLst/>
          </a:prstGeom>
          <a:effectLst>
            <a:glow>
              <a:schemeClr val="bg1"/>
            </a:glow>
          </a:effectLst>
        </p:spPr>
      </p:pic>
      <p:sp>
        <p:nvSpPr>
          <p:cNvPr id="6" name="Retângulo 5"/>
          <p:cNvSpPr/>
          <p:nvPr/>
        </p:nvSpPr>
        <p:spPr>
          <a:xfrm>
            <a:off x="-36512" y="-533400"/>
            <a:ext cx="5256584" cy="1683319"/>
          </a:xfrm>
          <a:custGeom>
            <a:avLst/>
            <a:gdLst>
              <a:gd name="connsiteX0" fmla="*/ 0 w 5040052"/>
              <a:gd name="connsiteY0" fmla="*/ 0 h 1656184"/>
              <a:gd name="connsiteX1" fmla="*/ 5040052 w 5040052"/>
              <a:gd name="connsiteY1" fmla="*/ 0 h 1656184"/>
              <a:gd name="connsiteX2" fmla="*/ 5040052 w 5040052"/>
              <a:gd name="connsiteY2" fmla="*/ 1656184 h 1656184"/>
              <a:gd name="connsiteX3" fmla="*/ 0 w 5040052"/>
              <a:gd name="connsiteY3" fmla="*/ 1656184 h 1656184"/>
              <a:gd name="connsiteX4" fmla="*/ 0 w 5040052"/>
              <a:gd name="connsiteY4" fmla="*/ 0 h 1656184"/>
              <a:gd name="connsiteX0" fmla="*/ 0 w 5040052"/>
              <a:gd name="connsiteY0" fmla="*/ 0 h 1656184"/>
              <a:gd name="connsiteX1" fmla="*/ 5040052 w 5040052"/>
              <a:gd name="connsiteY1" fmla="*/ 0 h 1656184"/>
              <a:gd name="connsiteX2" fmla="*/ 5040052 w 5040052"/>
              <a:gd name="connsiteY2" fmla="*/ 1656184 h 1656184"/>
              <a:gd name="connsiteX3" fmla="*/ 6824 w 5040052"/>
              <a:gd name="connsiteY3" fmla="*/ 1212632 h 1656184"/>
              <a:gd name="connsiteX4" fmla="*/ 0 w 5040052"/>
              <a:gd name="connsiteY4" fmla="*/ 0 h 1656184"/>
              <a:gd name="connsiteX0" fmla="*/ 0 w 5040052"/>
              <a:gd name="connsiteY0" fmla="*/ 0 h 1656184"/>
              <a:gd name="connsiteX1" fmla="*/ 5040052 w 5040052"/>
              <a:gd name="connsiteY1" fmla="*/ 0 h 1656184"/>
              <a:gd name="connsiteX2" fmla="*/ 5040052 w 5040052"/>
              <a:gd name="connsiteY2" fmla="*/ 1656184 h 1656184"/>
              <a:gd name="connsiteX3" fmla="*/ 897956 w 5040052"/>
              <a:gd name="connsiteY3" fmla="*/ 1591656 h 1656184"/>
              <a:gd name="connsiteX4" fmla="*/ 6824 w 5040052"/>
              <a:gd name="connsiteY4" fmla="*/ 1212632 h 1656184"/>
              <a:gd name="connsiteX5" fmla="*/ 0 w 5040052"/>
              <a:gd name="connsiteY5" fmla="*/ 0 h 1656184"/>
              <a:gd name="connsiteX0" fmla="*/ 0 w 5040052"/>
              <a:gd name="connsiteY0" fmla="*/ 0 h 1656184"/>
              <a:gd name="connsiteX1" fmla="*/ 5040052 w 5040052"/>
              <a:gd name="connsiteY1" fmla="*/ 0 h 1656184"/>
              <a:gd name="connsiteX2" fmla="*/ 5040052 w 5040052"/>
              <a:gd name="connsiteY2" fmla="*/ 1656184 h 1656184"/>
              <a:gd name="connsiteX3" fmla="*/ 897956 w 5040052"/>
              <a:gd name="connsiteY3" fmla="*/ 1591656 h 1656184"/>
              <a:gd name="connsiteX4" fmla="*/ 6824 w 5040052"/>
              <a:gd name="connsiteY4" fmla="*/ 1212632 h 1656184"/>
              <a:gd name="connsiteX5" fmla="*/ 0 w 5040052"/>
              <a:gd name="connsiteY5" fmla="*/ 0 h 1656184"/>
              <a:gd name="connsiteX0" fmla="*/ 0 w 5040052"/>
              <a:gd name="connsiteY0" fmla="*/ 0 h 1656184"/>
              <a:gd name="connsiteX1" fmla="*/ 5040052 w 5040052"/>
              <a:gd name="connsiteY1" fmla="*/ 0 h 1656184"/>
              <a:gd name="connsiteX2" fmla="*/ 5040052 w 5040052"/>
              <a:gd name="connsiteY2" fmla="*/ 1656184 h 1656184"/>
              <a:gd name="connsiteX3" fmla="*/ 1013962 w 5040052"/>
              <a:gd name="connsiteY3" fmla="*/ 1625776 h 1656184"/>
              <a:gd name="connsiteX4" fmla="*/ 6824 w 5040052"/>
              <a:gd name="connsiteY4" fmla="*/ 1212632 h 1656184"/>
              <a:gd name="connsiteX5" fmla="*/ 0 w 5040052"/>
              <a:gd name="connsiteY5" fmla="*/ 0 h 1656184"/>
              <a:gd name="connsiteX0" fmla="*/ 0 w 5040052"/>
              <a:gd name="connsiteY0" fmla="*/ 0 h 1656184"/>
              <a:gd name="connsiteX1" fmla="*/ 5040052 w 5040052"/>
              <a:gd name="connsiteY1" fmla="*/ 0 h 1656184"/>
              <a:gd name="connsiteX2" fmla="*/ 5040052 w 5040052"/>
              <a:gd name="connsiteY2" fmla="*/ 1656184 h 1656184"/>
              <a:gd name="connsiteX3" fmla="*/ 1061730 w 5040052"/>
              <a:gd name="connsiteY3" fmla="*/ 1653071 h 1656184"/>
              <a:gd name="connsiteX4" fmla="*/ 6824 w 5040052"/>
              <a:gd name="connsiteY4" fmla="*/ 1212632 h 1656184"/>
              <a:gd name="connsiteX5" fmla="*/ 0 w 5040052"/>
              <a:gd name="connsiteY5" fmla="*/ 0 h 1656184"/>
              <a:gd name="connsiteX0" fmla="*/ 0 w 5040052"/>
              <a:gd name="connsiteY0" fmla="*/ 0 h 1673543"/>
              <a:gd name="connsiteX1" fmla="*/ 5040052 w 5040052"/>
              <a:gd name="connsiteY1" fmla="*/ 0 h 1673543"/>
              <a:gd name="connsiteX2" fmla="*/ 5040052 w 5040052"/>
              <a:gd name="connsiteY2" fmla="*/ 1656184 h 1673543"/>
              <a:gd name="connsiteX3" fmla="*/ 1116321 w 5040052"/>
              <a:gd name="connsiteY3" fmla="*/ 1673543 h 1673543"/>
              <a:gd name="connsiteX4" fmla="*/ 6824 w 5040052"/>
              <a:gd name="connsiteY4" fmla="*/ 1212632 h 1673543"/>
              <a:gd name="connsiteX5" fmla="*/ 0 w 5040052"/>
              <a:gd name="connsiteY5" fmla="*/ 0 h 1673543"/>
              <a:gd name="connsiteX0" fmla="*/ 0 w 5040052"/>
              <a:gd name="connsiteY0" fmla="*/ 0 h 1673543"/>
              <a:gd name="connsiteX1" fmla="*/ 5040052 w 5040052"/>
              <a:gd name="connsiteY1" fmla="*/ 0 h 1673543"/>
              <a:gd name="connsiteX2" fmla="*/ 5040052 w 5040052"/>
              <a:gd name="connsiteY2" fmla="*/ 1656184 h 1673543"/>
              <a:gd name="connsiteX3" fmla="*/ 1082201 w 5040052"/>
              <a:gd name="connsiteY3" fmla="*/ 1673543 h 1673543"/>
              <a:gd name="connsiteX4" fmla="*/ 6824 w 5040052"/>
              <a:gd name="connsiteY4" fmla="*/ 1212632 h 1673543"/>
              <a:gd name="connsiteX5" fmla="*/ 0 w 5040052"/>
              <a:gd name="connsiteY5" fmla="*/ 0 h 1673543"/>
              <a:gd name="connsiteX0" fmla="*/ 0 w 5040052"/>
              <a:gd name="connsiteY0" fmla="*/ 0 h 1675504"/>
              <a:gd name="connsiteX1" fmla="*/ 5040052 w 5040052"/>
              <a:gd name="connsiteY1" fmla="*/ 0 h 1675504"/>
              <a:gd name="connsiteX2" fmla="*/ 5040052 w 5040052"/>
              <a:gd name="connsiteY2" fmla="*/ 1656184 h 1675504"/>
              <a:gd name="connsiteX3" fmla="*/ 1082201 w 5040052"/>
              <a:gd name="connsiteY3" fmla="*/ 1673543 h 1675504"/>
              <a:gd name="connsiteX4" fmla="*/ 6824 w 5040052"/>
              <a:gd name="connsiteY4" fmla="*/ 1212632 h 1675504"/>
              <a:gd name="connsiteX5" fmla="*/ 0 w 5040052"/>
              <a:gd name="connsiteY5" fmla="*/ 0 h 1675504"/>
              <a:gd name="connsiteX0" fmla="*/ 0 w 5040052"/>
              <a:gd name="connsiteY0" fmla="*/ 0 h 1683669"/>
              <a:gd name="connsiteX1" fmla="*/ 5040052 w 5040052"/>
              <a:gd name="connsiteY1" fmla="*/ 0 h 1683669"/>
              <a:gd name="connsiteX2" fmla="*/ 5040052 w 5040052"/>
              <a:gd name="connsiteY2" fmla="*/ 1656184 h 1683669"/>
              <a:gd name="connsiteX3" fmla="*/ 1131851 w 5040052"/>
              <a:gd name="connsiteY3" fmla="*/ 1681818 h 1683669"/>
              <a:gd name="connsiteX4" fmla="*/ 6824 w 5040052"/>
              <a:gd name="connsiteY4" fmla="*/ 1212632 h 1683669"/>
              <a:gd name="connsiteX5" fmla="*/ 0 w 5040052"/>
              <a:gd name="connsiteY5" fmla="*/ 0 h 1683669"/>
              <a:gd name="connsiteX0" fmla="*/ 0 w 5040056"/>
              <a:gd name="connsiteY0" fmla="*/ 0 h 1687026"/>
              <a:gd name="connsiteX1" fmla="*/ 5040052 w 5040056"/>
              <a:gd name="connsiteY1" fmla="*/ 0 h 1687026"/>
              <a:gd name="connsiteX2" fmla="*/ 5040052 w 5040056"/>
              <a:gd name="connsiteY2" fmla="*/ 1656184 h 1687026"/>
              <a:gd name="connsiteX3" fmla="*/ 1131851 w 5040056"/>
              <a:gd name="connsiteY3" fmla="*/ 1681818 h 1687026"/>
              <a:gd name="connsiteX4" fmla="*/ 6824 w 5040056"/>
              <a:gd name="connsiteY4" fmla="*/ 1212632 h 1687026"/>
              <a:gd name="connsiteX5" fmla="*/ 0 w 5040056"/>
              <a:gd name="connsiteY5" fmla="*/ 0 h 1687026"/>
              <a:gd name="connsiteX0" fmla="*/ 0 w 5040056"/>
              <a:gd name="connsiteY0" fmla="*/ 0 h 1683319"/>
              <a:gd name="connsiteX1" fmla="*/ 5040052 w 5040056"/>
              <a:gd name="connsiteY1" fmla="*/ 0 h 1683319"/>
              <a:gd name="connsiteX2" fmla="*/ 5040052 w 5040056"/>
              <a:gd name="connsiteY2" fmla="*/ 1656184 h 1683319"/>
              <a:gd name="connsiteX3" fmla="*/ 1094613 w 5040056"/>
              <a:gd name="connsiteY3" fmla="*/ 1677680 h 1683319"/>
              <a:gd name="connsiteX4" fmla="*/ 6824 w 5040056"/>
              <a:gd name="connsiteY4" fmla="*/ 1212632 h 1683319"/>
              <a:gd name="connsiteX5" fmla="*/ 0 w 5040056"/>
              <a:gd name="connsiteY5" fmla="*/ 0 h 1683319"/>
              <a:gd name="connsiteX0" fmla="*/ 0 w 5040056"/>
              <a:gd name="connsiteY0" fmla="*/ 0 h 1683319"/>
              <a:gd name="connsiteX1" fmla="*/ 5040052 w 5040056"/>
              <a:gd name="connsiteY1" fmla="*/ 0 h 1683319"/>
              <a:gd name="connsiteX2" fmla="*/ 5040052 w 5040056"/>
              <a:gd name="connsiteY2" fmla="*/ 1656184 h 1683319"/>
              <a:gd name="connsiteX3" fmla="*/ 1094613 w 5040056"/>
              <a:gd name="connsiteY3" fmla="*/ 1677680 h 1683319"/>
              <a:gd name="connsiteX4" fmla="*/ 19342 w 5040056"/>
              <a:gd name="connsiteY4" fmla="*/ 1245732 h 1683319"/>
              <a:gd name="connsiteX5" fmla="*/ 0 w 5040056"/>
              <a:gd name="connsiteY5" fmla="*/ 0 h 1683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40056" h="1683319">
                <a:moveTo>
                  <a:pt x="0" y="0"/>
                </a:moveTo>
                <a:lnTo>
                  <a:pt x="5040052" y="0"/>
                </a:lnTo>
                <a:lnTo>
                  <a:pt x="5040052" y="1656184"/>
                </a:lnTo>
                <a:cubicBezTo>
                  <a:pt x="5044879" y="1661188"/>
                  <a:pt x="1076416" y="1696914"/>
                  <a:pt x="1094613" y="1677680"/>
                </a:cubicBezTo>
                <a:lnTo>
                  <a:pt x="19342" y="1245732"/>
                </a:lnTo>
                <a:cubicBezTo>
                  <a:pt x="17067" y="841521"/>
                  <a:pt x="2275" y="404211"/>
                  <a:pt x="0" y="0"/>
                </a:cubicBezTo>
                <a:close/>
              </a:path>
            </a:pathLst>
          </a:cu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ções do MCTI (MCTIC) para o 5G</a:t>
            </a:r>
            <a:endParaRPr lang="pt-BR" sz="2400" dirty="0">
              <a:solidFill>
                <a:srgbClr val="00B0F0"/>
              </a:solidFill>
            </a:endParaRPr>
          </a:p>
        </p:txBody>
      </p:sp>
      <p:cxnSp>
        <p:nvCxnSpPr>
          <p:cNvPr id="14" name="Conector reto 13"/>
          <p:cNvCxnSpPr/>
          <p:nvPr/>
        </p:nvCxnSpPr>
        <p:spPr>
          <a:xfrm>
            <a:off x="107504" y="483518"/>
            <a:ext cx="4968552" cy="0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10997849"/>
              </p:ext>
            </p:extLst>
          </p:nvPr>
        </p:nvGraphicFramePr>
        <p:xfrm>
          <a:off x="1043608" y="1132824"/>
          <a:ext cx="7128792" cy="39592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204353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69" y="1"/>
            <a:ext cx="9143866" cy="5143500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</a:pPr>
            <a:endParaRPr lang="pt-BR" sz="1224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4294967295"/>
          </p:nvPr>
        </p:nvSpPr>
        <p:spPr>
          <a:xfrm>
            <a:off x="69" y="249037"/>
            <a:ext cx="3880099" cy="323165"/>
          </a:xfrm>
        </p:spPr>
        <p:txBody>
          <a:bodyPr/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9" name="Shape 291">
            <a:extLst>
              <a:ext uri="{FF2B5EF4-FFF2-40B4-BE49-F238E27FC236}">
                <a16:creationId xmlns:a16="http://schemas.microsoft.com/office/drawing/2014/main" xmlns="" id="{9425B9FC-8B16-48B1-9DE6-BA68552944B0}"/>
              </a:ext>
            </a:extLst>
          </p:cNvPr>
          <p:cNvSpPr txBox="1">
            <a:spLocks/>
          </p:cNvSpPr>
          <p:nvPr/>
        </p:nvSpPr>
        <p:spPr>
          <a:xfrm>
            <a:off x="1400633" y="943594"/>
            <a:ext cx="1586455" cy="28262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68569" tIns="34275" rIns="68569" bIns="34275" numCol="1" anchor="ctr" anchorCtr="0" compatLnSpc="1">
            <a:prstTxWarp prst="textNoShape">
              <a:avLst/>
            </a:prstTxWarp>
            <a:noAutofit/>
          </a:bodyPr>
          <a:lstStyle>
            <a:lvl1pPr algn="l" defTabSz="892974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160" algn="l"/>
              </a:tabLst>
              <a:defRPr sz="2352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2974" rtl="0" eaLnBrk="1" fontAlgn="base" hangingPunct="1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2pPr>
            <a:lvl3pPr algn="l" defTabSz="892974" rtl="0" eaLnBrk="1" fontAlgn="base" hangingPunct="1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3pPr>
            <a:lvl4pPr algn="l" defTabSz="892974" rtl="0" eaLnBrk="1" fontAlgn="base" hangingPunct="1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4pPr>
            <a:lvl5pPr algn="l" defTabSz="892974" rtl="0" eaLnBrk="1" fontAlgn="base" hangingPunct="1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5pPr>
            <a:lvl6pPr marL="455973" algn="l" defTabSz="892974" rtl="0" eaLnBrk="1" fontAlgn="base" hangingPunct="1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6pPr>
            <a:lvl7pPr marL="911975" algn="l" defTabSz="892974" rtl="0" eaLnBrk="1" fontAlgn="base" hangingPunct="1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7pPr>
            <a:lvl8pPr marL="1367966" algn="l" defTabSz="892974" rtl="0" eaLnBrk="1" fontAlgn="base" hangingPunct="1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8pPr>
            <a:lvl9pPr marL="1823950" algn="l" defTabSz="892974" rtl="0" eaLnBrk="1" fontAlgn="base" hangingPunct="1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68332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tabLst>
                <a:tab pos="205968" algn="l"/>
              </a:tabLst>
            </a:pPr>
            <a:r>
              <a:rPr lang="pt-BR" sz="2143" kern="0" dirty="0">
                <a:solidFill>
                  <a:srgbClr val="00984E"/>
                </a:solidFill>
                <a:latin typeface="Arial"/>
              </a:rPr>
              <a:t>   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0" y="67576"/>
            <a:ext cx="65" cy="20774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altLang="pt-BR" sz="135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5D2310DA-F0E7-4817-80B0-0744E7C1B4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984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49796" y="22053"/>
            <a:ext cx="8244408" cy="738664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  <a:alpha val="16000"/>
                </a:schemeClr>
              </a:gs>
              <a:gs pos="36000">
                <a:schemeClr val="accent4">
                  <a:tint val="37000"/>
                  <a:satMod val="300000"/>
                  <a:alpha val="0"/>
                </a:schemeClr>
              </a:gs>
              <a:gs pos="100000">
                <a:schemeClr val="accent4">
                  <a:tint val="15000"/>
                  <a:satMod val="350000"/>
                  <a:alpha val="27000"/>
                </a:schemeClr>
              </a:gs>
            </a:gsLst>
          </a:gra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24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+mn-lt"/>
              </a:rPr>
              <a:t>Estratégia Brasileira para Redes Móveis de Quinta Geração (5G) – EB5G</a:t>
            </a:r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2885541722"/>
              </p:ext>
            </p:extLst>
          </p:nvPr>
        </p:nvGraphicFramePr>
        <p:xfrm>
          <a:off x="179512" y="915566"/>
          <a:ext cx="8784976" cy="3888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03662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AutoShape 2"/>
          <p:cNvSpPr>
            <a:spLocks noChangeArrowheads="1"/>
          </p:cNvSpPr>
          <p:nvPr/>
        </p:nvSpPr>
        <p:spPr bwMode="auto">
          <a:xfrm>
            <a:off x="1714500" y="285750"/>
            <a:ext cx="6229350" cy="457200"/>
          </a:xfrm>
          <a:prstGeom prst="roundRect">
            <a:avLst>
              <a:gd name="adj" fmla="val 259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endParaRPr lang="en-US" altLang="pt-BR" sz="135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95588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255985"/>
            <a:ext cx="6237685" cy="857250"/>
          </a:xfrm>
          <a:prstGeom prst="rect">
            <a:avLst/>
          </a:prstGeom>
        </p:spPr>
        <p:txBody>
          <a:bodyPr vert="horz" lIns="0" tIns="0" rIns="0" bIns="0" rtlCol="0" anchor="b">
            <a:normAutofit fontScale="90000"/>
          </a:bodyPr>
          <a:lstStyle/>
          <a:p>
            <a:pPr algn="l" defTabSz="336947">
              <a:tabLst>
                <a:tab pos="0" algn="l"/>
                <a:tab pos="335756" algn="l"/>
                <a:tab pos="672704" algn="l"/>
                <a:tab pos="1009650" algn="l"/>
                <a:tab pos="1346597" algn="l"/>
                <a:tab pos="1683544" algn="l"/>
                <a:tab pos="2020491" algn="l"/>
                <a:tab pos="2357438" algn="l"/>
                <a:tab pos="2694385" algn="l"/>
                <a:tab pos="3031331" algn="l"/>
                <a:tab pos="3368279" algn="l"/>
                <a:tab pos="3705225" algn="l"/>
                <a:tab pos="4042172" algn="l"/>
                <a:tab pos="4379119" algn="l"/>
                <a:tab pos="4716066" algn="l"/>
                <a:tab pos="5053013" algn="l"/>
                <a:tab pos="5389960" algn="l"/>
                <a:tab pos="5726906" algn="l"/>
                <a:tab pos="6063854" algn="l"/>
                <a:tab pos="6400800" algn="l"/>
                <a:tab pos="6737747" algn="l"/>
              </a:tabLst>
              <a:defRPr/>
            </a:pPr>
            <a:r>
              <a:rPr lang="pt-BR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 </a:t>
            </a:r>
            <a:r>
              <a:rPr lang="pt-BR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ei </a:t>
            </a:r>
            <a:r>
              <a:rPr lang="pt-BR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 Informática</a:t>
            </a:r>
            <a:r>
              <a:rPr lang="en-GB" sz="27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2700" b="1" dirty="0">
                <a:solidFill>
                  <a:srgbClr val="0000FF"/>
                </a:solidFill>
                <a:latin typeface="+mn-lt"/>
                <a:ea typeface="+mn-ea"/>
                <a:cs typeface="+mn-cs"/>
              </a:rPr>
              <a:t/>
            </a:r>
            <a:br>
              <a:rPr lang="en-GB" sz="2700" b="1" dirty="0">
                <a:solidFill>
                  <a:srgbClr val="0000FF"/>
                </a:solidFill>
                <a:latin typeface="+mn-lt"/>
                <a:ea typeface="+mn-ea"/>
                <a:cs typeface="+mn-cs"/>
              </a:rPr>
            </a:br>
            <a:endParaRPr lang="en-GB" sz="2700" b="1" dirty="0">
              <a:solidFill>
                <a:srgbClr val="0000FF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" name="Espaço Reservado para Conteúdo 1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87582" y="997527"/>
          <a:ext cx="4850179" cy="3634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tângulo 4"/>
          <p:cNvSpPr/>
          <p:nvPr/>
        </p:nvSpPr>
        <p:spPr>
          <a:xfrm>
            <a:off x="0" y="0"/>
            <a:ext cx="5552550" cy="5735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3477">
              <a:defRPr/>
            </a:pPr>
            <a:r>
              <a:rPr lang="pt-BR" sz="27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ei </a:t>
            </a:r>
            <a:r>
              <a:rPr lang="pt-BR" sz="27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de </a:t>
            </a:r>
            <a:r>
              <a:rPr lang="pt-BR" sz="27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TICs</a:t>
            </a:r>
            <a:r>
              <a:rPr lang="pt-BR" sz="27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 – Lei nº 8.248/1991</a:t>
            </a:r>
            <a:endParaRPr lang="pt-BR" sz="27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graphicFrame>
        <p:nvGraphicFramePr>
          <p:cNvPr id="7" name="Espaço Reservado para Conteúdo 1"/>
          <p:cNvGraphicFramePr>
            <a:graphicFrameLocks/>
          </p:cNvGraphicFramePr>
          <p:nvPr>
            <p:extLst/>
          </p:nvPr>
        </p:nvGraphicFramePr>
        <p:xfrm>
          <a:off x="5025342" y="997527"/>
          <a:ext cx="4027219" cy="3634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40174960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AutoShape 2"/>
          <p:cNvSpPr>
            <a:spLocks noChangeArrowheads="1"/>
          </p:cNvSpPr>
          <p:nvPr/>
        </p:nvSpPr>
        <p:spPr bwMode="auto">
          <a:xfrm>
            <a:off x="1714500" y="285750"/>
            <a:ext cx="6229350" cy="457200"/>
          </a:xfrm>
          <a:prstGeom prst="roundRect">
            <a:avLst>
              <a:gd name="adj" fmla="val 259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endParaRPr lang="en-US" altLang="pt-BR" sz="135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95588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255985"/>
            <a:ext cx="6237685" cy="857250"/>
          </a:xfrm>
          <a:prstGeom prst="rect">
            <a:avLst/>
          </a:prstGeom>
        </p:spPr>
        <p:txBody>
          <a:bodyPr vert="horz" lIns="0" tIns="0" rIns="0" bIns="0" rtlCol="0" anchor="b">
            <a:normAutofit fontScale="90000"/>
          </a:bodyPr>
          <a:lstStyle/>
          <a:p>
            <a:pPr algn="l" defTabSz="336947">
              <a:tabLst>
                <a:tab pos="0" algn="l"/>
                <a:tab pos="335756" algn="l"/>
                <a:tab pos="672704" algn="l"/>
                <a:tab pos="1009650" algn="l"/>
                <a:tab pos="1346597" algn="l"/>
                <a:tab pos="1683544" algn="l"/>
                <a:tab pos="2020491" algn="l"/>
                <a:tab pos="2357438" algn="l"/>
                <a:tab pos="2694385" algn="l"/>
                <a:tab pos="3031331" algn="l"/>
                <a:tab pos="3368279" algn="l"/>
                <a:tab pos="3705225" algn="l"/>
                <a:tab pos="4042172" algn="l"/>
                <a:tab pos="4379119" algn="l"/>
                <a:tab pos="4716066" algn="l"/>
                <a:tab pos="5053013" algn="l"/>
                <a:tab pos="5389960" algn="l"/>
                <a:tab pos="5726906" algn="l"/>
                <a:tab pos="6063854" algn="l"/>
                <a:tab pos="6400800" algn="l"/>
                <a:tab pos="6737747" algn="l"/>
              </a:tabLst>
              <a:defRPr/>
            </a:pPr>
            <a:r>
              <a:rPr lang="pt-BR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 </a:t>
            </a:r>
            <a:r>
              <a:rPr lang="pt-BR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ei </a:t>
            </a:r>
            <a:r>
              <a:rPr lang="pt-BR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 Informática</a:t>
            </a:r>
            <a:r>
              <a:rPr lang="en-GB" sz="27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2700" b="1" dirty="0">
                <a:solidFill>
                  <a:srgbClr val="0000FF"/>
                </a:solidFill>
                <a:latin typeface="+mn-lt"/>
                <a:ea typeface="+mn-ea"/>
                <a:cs typeface="+mn-cs"/>
              </a:rPr>
              <a:t/>
            </a:r>
            <a:br>
              <a:rPr lang="en-GB" sz="2700" b="1" dirty="0">
                <a:solidFill>
                  <a:srgbClr val="0000FF"/>
                </a:solidFill>
                <a:latin typeface="+mn-lt"/>
                <a:ea typeface="+mn-ea"/>
                <a:cs typeface="+mn-cs"/>
              </a:rPr>
            </a:br>
            <a:endParaRPr lang="en-GB" sz="2700" b="1" dirty="0">
              <a:solidFill>
                <a:srgbClr val="0000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0" y="0"/>
            <a:ext cx="7740352" cy="5735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3477">
              <a:defRPr/>
            </a:pPr>
            <a:r>
              <a:rPr lang="pt-BR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ei </a:t>
            </a:r>
            <a:r>
              <a:rPr lang="pt-BR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de </a:t>
            </a:r>
            <a:r>
              <a:rPr lang="pt-BR" sz="24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TICs</a:t>
            </a:r>
            <a:r>
              <a:rPr lang="pt-BR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 – Lei nº 8.248/1991 (Lei de Informática)</a:t>
            </a:r>
            <a:endParaRPr lang="pt-BR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3392121527"/>
              </p:ext>
            </p:extLst>
          </p:nvPr>
        </p:nvGraphicFramePr>
        <p:xfrm>
          <a:off x="971600" y="829513"/>
          <a:ext cx="7128792" cy="3974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879670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536" y="267494"/>
            <a:ext cx="2002224" cy="430887"/>
          </a:xfrm>
        </p:spPr>
        <p:txBody>
          <a:bodyPr/>
          <a:lstStyle/>
          <a:p>
            <a:r>
              <a:rPr lang="pt-BR" sz="2800" b="1" dirty="0" smtClean="0"/>
              <a:t>AGENDA</a:t>
            </a:r>
            <a:endParaRPr lang="pt-BR" sz="2800" b="1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41878358"/>
              </p:ext>
            </p:extLst>
          </p:nvPr>
        </p:nvGraphicFramePr>
        <p:xfrm>
          <a:off x="467544" y="1059582"/>
          <a:ext cx="7848872" cy="3384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01725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/>
          <p:cNvGraphicFramePr/>
          <p:nvPr>
            <p:extLst/>
          </p:nvPr>
        </p:nvGraphicFramePr>
        <p:xfrm>
          <a:off x="0" y="0"/>
          <a:ext cx="9144000" cy="5143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8241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F411E92F-F53C-C34D-92BD-78CF7C8C9E87}"/>
              </a:ext>
            </a:extLst>
          </p:cNvPr>
          <p:cNvSpPr txBox="1">
            <a:spLocks/>
          </p:cNvSpPr>
          <p:nvPr/>
        </p:nvSpPr>
        <p:spPr>
          <a:xfrm>
            <a:off x="3275856" y="195486"/>
            <a:ext cx="2386608" cy="493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x-none" sz="2400" b="1" dirty="0" smtClean="0"/>
              <a:t>LEILÃO 5G Brasil</a:t>
            </a:r>
            <a:endParaRPr lang="x-none" sz="2400" b="1" dirty="0"/>
          </a:p>
        </p:txBody>
      </p:sp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857687118"/>
              </p:ext>
            </p:extLst>
          </p:nvPr>
        </p:nvGraphicFramePr>
        <p:xfrm>
          <a:off x="503736" y="843558"/>
          <a:ext cx="8136527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40594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4994" name="Picture 2" descr="Resultado de imagem para noite esplanad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" y="-437285"/>
            <a:ext cx="9143731" cy="594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>
          <a:xfrm>
            <a:off x="135" y="3344115"/>
            <a:ext cx="9143731" cy="1799348"/>
          </a:xfrm>
          <a:prstGeom prst="rect">
            <a:avLst/>
          </a:prstGeom>
          <a:solidFill>
            <a:srgbClr val="080808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77" dirty="0" err="1">
              <a:solidFill>
                <a:schemeClr val="tx1"/>
              </a:solidFill>
            </a:endParaRPr>
          </a:p>
        </p:txBody>
      </p:sp>
      <p:sp>
        <p:nvSpPr>
          <p:cNvPr id="2" name="AutoShape 2" descr="Resultado de imagem para VIII forum da internet no brasil"/>
          <p:cNvSpPr>
            <a:spLocks noChangeAspect="1" noChangeArrowheads="1"/>
          </p:cNvSpPr>
          <p:nvPr/>
        </p:nvSpPr>
        <p:spPr bwMode="auto">
          <a:xfrm>
            <a:off x="119185" y="-110507"/>
            <a:ext cx="233239" cy="233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9971" tIns="34986" rIns="69971" bIns="34986" numCol="1" anchor="t" anchorCtr="0" compatLnSpc="1">
            <a:prstTxWarp prst="textNoShape">
              <a:avLst/>
            </a:prstTxWarp>
          </a:bodyPr>
          <a:lstStyle/>
          <a:p>
            <a:endParaRPr lang="pt-BR" sz="1377"/>
          </a:p>
        </p:txBody>
      </p:sp>
      <p:sp>
        <p:nvSpPr>
          <p:cNvPr id="8" name="CaixaDeTexto 7"/>
          <p:cNvSpPr txBox="1"/>
          <p:nvPr/>
        </p:nvSpPr>
        <p:spPr>
          <a:xfrm>
            <a:off x="567253" y="3644108"/>
            <a:ext cx="8009495" cy="1012427"/>
          </a:xfrm>
          <a:prstGeom prst="rect">
            <a:avLst/>
          </a:prstGeom>
          <a:noFill/>
        </p:spPr>
        <p:txBody>
          <a:bodyPr wrap="square" lIns="69949" tIns="34974" rIns="69949" bIns="34974" rtlCol="0">
            <a:spAutoFit/>
          </a:bodyPr>
          <a:lstStyle/>
          <a:p>
            <a:pPr algn="ctr"/>
            <a:r>
              <a:rPr lang="pt-BR" sz="1530" b="1" dirty="0">
                <a:solidFill>
                  <a:schemeClr val="bg1"/>
                </a:solidFill>
              </a:rPr>
              <a:t>Rubens Caetano Barbosa de Souza</a:t>
            </a:r>
          </a:p>
          <a:p>
            <a:pPr algn="ctr"/>
            <a:r>
              <a:rPr lang="pt-BR" sz="1530" b="1" dirty="0">
                <a:solidFill>
                  <a:schemeClr val="bg1"/>
                </a:solidFill>
              </a:rPr>
              <a:t>Coordenador de Pesquisa e Desenvolvimento</a:t>
            </a:r>
          </a:p>
          <a:p>
            <a:pPr algn="ctr"/>
            <a:r>
              <a:rPr lang="pt-BR" sz="1530" b="1" dirty="0">
                <a:solidFill>
                  <a:schemeClr val="bg1"/>
                </a:solidFill>
              </a:rPr>
              <a:t>Secretaria de Empreendedorismo e Inovação</a:t>
            </a:r>
          </a:p>
          <a:p>
            <a:pPr algn="ctr"/>
            <a:r>
              <a:rPr lang="pt-BR" sz="1530" b="1" dirty="0">
                <a:solidFill>
                  <a:schemeClr val="bg1"/>
                </a:solidFill>
              </a:rPr>
              <a:t>MINISTÉRIO DA CIÊNCIA, TECNOLOGIA E INOVAÇÕES</a:t>
            </a:r>
          </a:p>
        </p:txBody>
      </p:sp>
      <p:pic>
        <p:nvPicPr>
          <p:cNvPr id="7" name="Picture 3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010" y="4655162"/>
            <a:ext cx="1527652" cy="48830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Ministério da Ciência, Tecnologia e Inovações (@mctic) | Twitte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" y="4252460"/>
            <a:ext cx="1111060" cy="1008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o Explicativo Retangular com Cantos Arredondados 4"/>
          <p:cNvSpPr/>
          <p:nvPr/>
        </p:nvSpPr>
        <p:spPr>
          <a:xfrm>
            <a:off x="2483768" y="88309"/>
            <a:ext cx="3312368" cy="1728192"/>
          </a:xfrm>
          <a:prstGeom prst="wedgeRoundRectCallout">
            <a:avLst>
              <a:gd name="adj1" fmla="val 69803"/>
              <a:gd name="adj2" fmla="val 20865"/>
              <a:gd name="adj3" fmla="val 16667"/>
            </a:avLst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Espaço Reservado para Conteúdo 3">
            <a:extLst>
              <a:ext uri="{FF2B5EF4-FFF2-40B4-BE49-F238E27FC236}">
                <a16:creationId xmlns:a16="http://schemas.microsoft.com/office/drawing/2014/main" xmlns="" id="{BF33CD4C-4C82-42A8-A691-4E771D372F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79812" y="268193"/>
            <a:ext cx="2520280" cy="1368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67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4">
            <a:extLst>
              <a:ext uri="{FF2B5EF4-FFF2-40B4-BE49-F238E27FC236}">
                <a16:creationId xmlns:a16="http://schemas.microsoft.com/office/drawing/2014/main" xmlns="" id="{82D6ECFE-43A5-4E64-8809-E2324A905A4F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107504" y="54713"/>
            <a:ext cx="4427984" cy="4699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800" dirty="0" smtClean="0">
                <a:solidFill>
                  <a:srgbClr val="FFFF00"/>
                </a:solidFill>
              </a:rPr>
              <a:t>Ecossistema do 5G no Brasil</a:t>
            </a:r>
            <a:endParaRPr lang="pt-BR" sz="2800" dirty="0">
              <a:solidFill>
                <a:srgbClr val="FFFF00"/>
              </a:solidFill>
            </a:endParaRP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xmlns="" id="{CEFA031E-0421-448F-9993-C5B3B130A7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8567391"/>
              </p:ext>
            </p:extLst>
          </p:nvPr>
        </p:nvGraphicFramePr>
        <p:xfrm>
          <a:off x="1441059" y="517447"/>
          <a:ext cx="6547339" cy="44305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042B72BC-34CF-4095-880E-D60BC3A86B5D}"/>
              </a:ext>
            </a:extLst>
          </p:cNvPr>
          <p:cNvSpPr txBox="1"/>
          <p:nvPr/>
        </p:nvSpPr>
        <p:spPr>
          <a:xfrm>
            <a:off x="679746" y="1001679"/>
            <a:ext cx="23499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POLÍTICAS DIGITAIS</a:t>
            </a:r>
            <a:endParaRPr lang="pt-BR" dirty="0">
              <a:solidFill>
                <a:schemeClr val="bg1"/>
              </a:solidFill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1"/>
                </a:solidFill>
              </a:rPr>
              <a:t>E-Digital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1"/>
                </a:solidFill>
              </a:rPr>
              <a:t>IoT.BR </a:t>
            </a:r>
            <a:r>
              <a:rPr lang="pt-BR" dirty="0" err="1">
                <a:solidFill>
                  <a:schemeClr val="bg1"/>
                </a:solidFill>
              </a:rPr>
              <a:t>Plan</a:t>
            </a:r>
            <a:endParaRPr lang="pt-BR" dirty="0">
              <a:solidFill>
                <a:schemeClr val="bg1"/>
              </a:solidFill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bg1"/>
                </a:solidFill>
              </a:rPr>
              <a:t>EB5G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bg1"/>
                </a:solidFill>
              </a:rPr>
              <a:t>Legislaçã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8F645146-F5D5-4CF8-AD9B-EFFA0BCDF3A2}"/>
              </a:ext>
            </a:extLst>
          </p:cNvPr>
          <p:cNvSpPr txBox="1"/>
          <p:nvPr/>
        </p:nvSpPr>
        <p:spPr>
          <a:xfrm>
            <a:off x="6732241" y="994461"/>
            <a:ext cx="230425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REGULAÇÃO DA TELECOM</a:t>
            </a:r>
            <a:endParaRPr lang="pt-BR" dirty="0">
              <a:solidFill>
                <a:schemeClr val="bg1"/>
              </a:solidFill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bg1"/>
                </a:solidFill>
              </a:rPr>
              <a:t>Gerenciamento do espectro </a:t>
            </a:r>
            <a:endParaRPr lang="pt-BR" dirty="0">
              <a:solidFill>
                <a:schemeClr val="bg1"/>
              </a:solidFill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bg1"/>
                </a:solidFill>
              </a:rPr>
              <a:t>Serviços de Telecom</a:t>
            </a:r>
            <a:endParaRPr lang="pt-BR" dirty="0">
              <a:solidFill>
                <a:schemeClr val="bg1"/>
              </a:solidFill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bg1"/>
                </a:solidFill>
              </a:rPr>
              <a:t>Concorrência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611CC364-6E46-47BA-BA36-F9C3784CD3EF}"/>
              </a:ext>
            </a:extLst>
          </p:cNvPr>
          <p:cNvSpPr txBox="1"/>
          <p:nvPr/>
        </p:nvSpPr>
        <p:spPr>
          <a:xfrm>
            <a:off x="6732240" y="3435846"/>
            <a:ext cx="21779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DESENV &amp; TESTBEDS</a:t>
            </a:r>
            <a:endParaRPr lang="pt-BR" dirty="0">
              <a:solidFill>
                <a:schemeClr val="bg1"/>
              </a:solidFill>
            </a:endParaRPr>
          </a:p>
          <a:p>
            <a:r>
              <a:rPr lang="pt-BR" dirty="0" smtClean="0">
                <a:solidFill>
                  <a:schemeClr val="bg1"/>
                </a:solidFill>
              </a:rPr>
              <a:t>PADRONIZAÇÃO</a:t>
            </a:r>
            <a:endParaRPr lang="pt-BR" dirty="0">
              <a:solidFill>
                <a:schemeClr val="bg1"/>
              </a:solidFill>
            </a:endParaRPr>
          </a:p>
          <a:p>
            <a:r>
              <a:rPr lang="pt-BR" dirty="0" smtClean="0">
                <a:solidFill>
                  <a:schemeClr val="bg1"/>
                </a:solidFill>
              </a:rPr>
              <a:t>HARMONIZAÇÃO</a:t>
            </a:r>
            <a:br>
              <a:rPr lang="pt-BR" dirty="0" smtClean="0">
                <a:solidFill>
                  <a:schemeClr val="bg1"/>
                </a:solidFill>
              </a:rPr>
            </a:br>
            <a:r>
              <a:rPr lang="pt-BR" dirty="0" smtClean="0">
                <a:solidFill>
                  <a:srgbClr val="FFFF00"/>
                </a:solidFill>
              </a:rPr>
              <a:t>APLICAÇÕES</a:t>
            </a:r>
            <a:endParaRPr lang="pt-BR" dirty="0">
              <a:solidFill>
                <a:srgbClr val="FFFF00"/>
              </a:solidFill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CD7644DD-CA17-4926-9EF5-C0BA624E07E4}"/>
              </a:ext>
            </a:extLst>
          </p:cNvPr>
          <p:cNvSpPr txBox="1"/>
          <p:nvPr/>
        </p:nvSpPr>
        <p:spPr>
          <a:xfrm>
            <a:off x="581406" y="3435846"/>
            <a:ext cx="24482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PESQUISA E DEMANDAS DE SERVIÇOS</a:t>
            </a:r>
            <a:endParaRPr lang="pt-BR" dirty="0">
              <a:solidFill>
                <a:schemeClr val="bg1"/>
              </a:solidFill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bg1"/>
                </a:solidFill>
              </a:rPr>
              <a:t>Economia Digital</a:t>
            </a:r>
            <a:endParaRPr lang="pt-BR" dirty="0">
              <a:solidFill>
                <a:schemeClr val="bg1"/>
              </a:solidFill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bg1"/>
                </a:solidFill>
              </a:rPr>
              <a:t>Melhoria da Qualidade de vid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6382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64F5E1C2-CDD8-48A9-825E-F4F850410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15D77C75-D834-43BB-A200-412129441B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F72837C-84C5-4536-BF82-0B48C663B0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1C8111CE-F4C3-4027-B5D9-D756CBC31AFA}"/>
              </a:ext>
            </a:extLst>
          </p:cNvPr>
          <p:cNvSpPr txBox="1"/>
          <p:nvPr/>
        </p:nvSpPr>
        <p:spPr>
          <a:xfrm>
            <a:off x="-36512" y="4866501"/>
            <a:ext cx="19368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Rec. ITU-R M.2083-0 </a:t>
            </a:r>
          </a:p>
        </p:txBody>
      </p:sp>
    </p:spTree>
    <p:extLst>
      <p:ext uri="{BB962C8B-B14F-4D97-AF65-F5344CB8AC3E}">
        <p14:creationId xmlns:p14="http://schemas.microsoft.com/office/powerpoint/2010/main" val="2015845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7" y="0"/>
            <a:ext cx="9144000" cy="518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34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pt-BR" sz="2400" dirty="0" smtClean="0"/>
              <a:t>Perspectiva econômica do uso das ondas milimétricas em 2034</a:t>
            </a:r>
            <a:endParaRPr lang="pt-BR" sz="2400" dirty="0"/>
          </a:p>
        </p:txBody>
      </p:sp>
      <p:pic>
        <p:nvPicPr>
          <p:cNvPr id="4" name="Espaço Reservado para Conteúdo 3"/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539552" y="1131590"/>
            <a:ext cx="8134350" cy="320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705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9144000" cy="5123686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483518"/>
            <a:ext cx="2195736" cy="282626"/>
          </a:xfrm>
        </p:spPr>
        <p:txBody>
          <a:bodyPr>
            <a:noAutofit/>
          </a:bodyPr>
          <a:lstStyle/>
          <a:p>
            <a:r>
              <a:rPr lang="pt-BR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quanto ao Brasil?</a:t>
            </a:r>
          </a:p>
        </p:txBody>
      </p:sp>
    </p:spTree>
    <p:extLst>
      <p:ext uri="{BB962C8B-B14F-4D97-AF65-F5344CB8AC3E}">
        <p14:creationId xmlns:p14="http://schemas.microsoft.com/office/powerpoint/2010/main" val="2195668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27584" y="1707654"/>
            <a:ext cx="7488832" cy="1728192"/>
          </a:xfrm>
        </p:spPr>
        <p:txBody>
          <a:bodyPr>
            <a:normAutofit/>
          </a:bodyPr>
          <a:lstStyle/>
          <a:p>
            <a:r>
              <a:rPr lang="pt-BR" sz="4000" dirty="0">
                <a:latin typeface="Arial" panose="020B0604020202020204" pitchFamily="34" charset="0"/>
                <a:cs typeface="Arial" panose="020B0604020202020204" pitchFamily="34" charset="0"/>
              </a:rPr>
              <a:t>E como </a:t>
            </a:r>
            <a:r>
              <a:rPr lang="pt-BR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o Brasil pode alcançar esses resultados?</a:t>
            </a:r>
            <a:endParaRPr lang="pt-BR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8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sz="280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des Desafios </a:t>
            </a:r>
            <a:r>
              <a:rPr lang="pt-BR" sz="2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t-BR" sz="280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vos Investimentos</a:t>
            </a:r>
            <a:endParaRPr lang="pt-BR" sz="28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m 4">
            <a:extLst>
              <a:ext uri="{FF2B5EF4-FFF2-40B4-BE49-F238E27FC236}">
                <a16:creationId xmlns:a16="http://schemas.microsoft.com/office/drawing/2014/main" xmlns="" id="{42B45A8B-8DEC-4C33-9CE3-D93129A89B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737"/>
          <a:stretch/>
        </p:blipFill>
        <p:spPr bwMode="auto">
          <a:xfrm>
            <a:off x="415177" y="1061627"/>
            <a:ext cx="2644656" cy="2446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4">
            <a:extLst>
              <a:ext uri="{FF2B5EF4-FFF2-40B4-BE49-F238E27FC236}">
                <a16:creationId xmlns:a16="http://schemas.microsoft.com/office/drawing/2014/main" xmlns="" id="{7166BFCE-7D8D-4C9B-8930-710A2AAE6E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96" r="68047"/>
          <a:stretch/>
        </p:blipFill>
        <p:spPr bwMode="auto">
          <a:xfrm>
            <a:off x="295670" y="2427734"/>
            <a:ext cx="1179986" cy="1170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39"/>
          <a:stretch/>
        </p:blipFill>
        <p:spPr bwMode="auto">
          <a:xfrm>
            <a:off x="6084168" y="1131590"/>
            <a:ext cx="2736304" cy="17077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5500538" y="1255861"/>
            <a:ext cx="971292" cy="30777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pt-BR" sz="1400" dirty="0"/>
              <a:t>Brasília/DF</a:t>
            </a:r>
          </a:p>
        </p:txBody>
      </p:sp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880" y="2031573"/>
            <a:ext cx="2736304" cy="17593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2931790"/>
            <a:ext cx="2736304" cy="18199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5580112" y="4310975"/>
            <a:ext cx="1556901" cy="27699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pt-BR" sz="1200" dirty="0"/>
              <a:t>Serra da Saudade/MG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3146156" y="2119957"/>
            <a:ext cx="1137812" cy="307777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pt-BR" sz="1400" dirty="0"/>
              <a:t>São Paulo/SP</a:t>
            </a:r>
          </a:p>
        </p:txBody>
      </p:sp>
      <p:sp>
        <p:nvSpPr>
          <p:cNvPr id="13" name="Texto explicativo retangular com cantos arredondados 10">
            <a:extLst>
              <a:ext uri="{FF2B5EF4-FFF2-40B4-BE49-F238E27FC236}">
                <a16:creationId xmlns:a16="http://schemas.microsoft.com/office/drawing/2014/main" xmlns="" id="{484D69D9-CC6C-4270-BEB0-AA38262E4159}"/>
              </a:ext>
            </a:extLst>
          </p:cNvPr>
          <p:cNvSpPr/>
          <p:nvPr/>
        </p:nvSpPr>
        <p:spPr>
          <a:xfrm>
            <a:off x="433121" y="3661380"/>
            <a:ext cx="2538948" cy="1008112"/>
          </a:xfrm>
          <a:prstGeom prst="wedgeRoundRectCallout">
            <a:avLst>
              <a:gd name="adj1" fmla="val 15343"/>
              <a:gd name="adj2" fmla="val -14421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altLang="pt-BR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ca de 85% da população urbana ocupa menos de 1% da superfície terrestre do Brasil.</a:t>
            </a:r>
            <a:r>
              <a:rPr lang="pt-PT" alt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altLang="pt-B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608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atia">
  <a:themeElements>
    <a:clrScheme name="Fatia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Fatia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Fatia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3_Firm Format - template_Blue">
  <a:themeElements>
    <a:clrScheme name="Custom 4">
      <a:dk1>
        <a:srgbClr val="000000"/>
      </a:dk1>
      <a:lt1>
        <a:srgbClr val="FFFFFF"/>
      </a:lt1>
      <a:dk2>
        <a:srgbClr val="00984E"/>
      </a:dk2>
      <a:lt2>
        <a:srgbClr val="FFFFFF"/>
      </a:lt2>
      <a:accent1>
        <a:srgbClr val="DFDEDC"/>
      </a:accent1>
      <a:accent2>
        <a:srgbClr val="08BC11"/>
      </a:accent2>
      <a:accent3>
        <a:srgbClr val="008A2E"/>
      </a:accent3>
      <a:accent4>
        <a:srgbClr val="1E428B"/>
      </a:accent4>
      <a:accent5>
        <a:srgbClr val="00C3B3"/>
      </a:accent5>
      <a:accent6>
        <a:srgbClr val="4C91AB"/>
      </a:accent6>
      <a:hlink>
        <a:srgbClr val="004C87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4.xml><?xml version="1.0" encoding="utf-8"?>
<a:theme xmlns:a="http://schemas.openxmlformats.org/drawingml/2006/main" name="1_Firm Format - template_Blue">
  <a:themeElements>
    <a:clrScheme name="Custom 4">
      <a:dk1>
        <a:srgbClr val="000000"/>
      </a:dk1>
      <a:lt1>
        <a:srgbClr val="FFFFFF"/>
      </a:lt1>
      <a:dk2>
        <a:srgbClr val="00984E"/>
      </a:dk2>
      <a:lt2>
        <a:srgbClr val="FFFFFF"/>
      </a:lt2>
      <a:accent1>
        <a:srgbClr val="DFDEDC"/>
      </a:accent1>
      <a:accent2>
        <a:srgbClr val="08BC11"/>
      </a:accent2>
      <a:accent3>
        <a:srgbClr val="008A2E"/>
      </a:accent3>
      <a:accent4>
        <a:srgbClr val="1E428B"/>
      </a:accent4>
      <a:accent5>
        <a:srgbClr val="00C3B3"/>
      </a:accent5>
      <a:accent6>
        <a:srgbClr val="4C91AB"/>
      </a:accent6>
      <a:hlink>
        <a:srgbClr val="004C87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F7E621BD450FE4393E7623B49474285" ma:contentTypeVersion="2" ma:contentTypeDescription="Crie um novo documento." ma:contentTypeScope="" ma:versionID="0f6b5c3c5699e6f22c0bba22bdd1b804">
  <xsd:schema xmlns:xsd="http://www.w3.org/2001/XMLSchema" xmlns:xs="http://www.w3.org/2001/XMLSchema" xmlns:p="http://schemas.microsoft.com/office/2006/metadata/properties" xmlns:ns2="dbaa3f00-36d5-461c-980e-b38e46c126ec" targetNamespace="http://schemas.microsoft.com/office/2006/metadata/properties" ma:root="true" ma:fieldsID="625e9c346c7d16b578fb29773b08b3db" ns2:_="">
    <xsd:import namespace="dbaa3f00-36d5-461c-980e-b38e46c126e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aa3f00-36d5-461c-980e-b38e46c126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703EE85-69EE-4240-8583-78EC7C5688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53B73D-CA16-4137-AD16-AE76A02FE7DC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dbaa3f00-36d5-461c-980e-b38e46c126ec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543CB2D-E56C-4CFF-8F59-205C8946550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baa3f00-36d5-461c-980e-b38e46c126ec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60</TotalTime>
  <Words>1248</Words>
  <Application>Microsoft Office PowerPoint</Application>
  <PresentationFormat>Apresentação na tela (16:9)</PresentationFormat>
  <Paragraphs>176</Paragraphs>
  <Slides>22</Slides>
  <Notes>15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2</vt:i4>
      </vt:variant>
    </vt:vector>
  </HeadingPairs>
  <TitlesOfParts>
    <vt:vector size="34" baseType="lpstr">
      <vt:lpstr>Arial</vt:lpstr>
      <vt:lpstr>Calibri</vt:lpstr>
      <vt:lpstr>Century Gothic</vt:lpstr>
      <vt:lpstr>Georgia</vt:lpstr>
      <vt:lpstr>Times New Roman</vt:lpstr>
      <vt:lpstr>Wingdings</vt:lpstr>
      <vt:lpstr>Wingdings 3</vt:lpstr>
      <vt:lpstr>Tema do Office</vt:lpstr>
      <vt:lpstr>Fatia</vt:lpstr>
      <vt:lpstr>3_Firm Format - template_Blue</vt:lpstr>
      <vt:lpstr>1_Firm Format - template_Blue</vt:lpstr>
      <vt:lpstr>think-cell Slide</vt:lpstr>
      <vt:lpstr> Comissão de Ciência, Tecnologia, Inovação, Comunicação e Informática do Senado Federal  Audiência Pública sobre 5G – Leilão e Expectativas para implementação dessa tecnologia no País </vt:lpstr>
      <vt:lpstr>AGENDA</vt:lpstr>
      <vt:lpstr>Apresentação do PowerPoint</vt:lpstr>
      <vt:lpstr>Apresentação do PowerPoint</vt:lpstr>
      <vt:lpstr>Apresentação do PowerPoint</vt:lpstr>
      <vt:lpstr>Perspectiva econômica do uso das ondas milimétricas em 2034</vt:lpstr>
      <vt:lpstr>E quanto ao Brasil?</vt:lpstr>
      <vt:lpstr>E como o Brasil pode alcançar esses resultados?</vt:lpstr>
      <vt:lpstr>Grandes Desafios - Novos Investimentos</vt:lpstr>
      <vt:lpstr>Evolução da cobertura de rede móvel no Brasil</vt:lpstr>
      <vt:lpstr>Apresentação do PowerPoint</vt:lpstr>
      <vt:lpstr>Apresentação do PowerPoint</vt:lpstr>
      <vt:lpstr>Apresentação do PowerPoint</vt:lpstr>
      <vt:lpstr>O que o Governo e o MCTI tem feito?</vt:lpstr>
      <vt:lpstr>Apresentação do PowerPoint</vt:lpstr>
      <vt:lpstr>Apresentação do PowerPoint</vt:lpstr>
      <vt:lpstr>Estratégia Brasileira para Redes Móveis de Quinta Geração (5G) – EB5G</vt:lpstr>
      <vt:lpstr>  Lei de Informática  </vt:lpstr>
      <vt:lpstr>  Lei de Informática  </vt:lpstr>
      <vt:lpstr>Apresentação do PowerPoint</vt:lpstr>
      <vt:lpstr>Apresentação do PowerPoint</vt:lpstr>
      <vt:lpstr>Apresentação do PowerPoint</vt:lpstr>
    </vt:vector>
  </TitlesOfParts>
  <Company>Anat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dows User</dc:creator>
  <cp:lastModifiedBy>Aguirre Estorilio Silva Pinto Neto</cp:lastModifiedBy>
  <cp:revision>659</cp:revision>
  <cp:lastPrinted>2019-04-22T20:50:44Z</cp:lastPrinted>
  <dcterms:created xsi:type="dcterms:W3CDTF">2019-01-09T10:04:05Z</dcterms:created>
  <dcterms:modified xsi:type="dcterms:W3CDTF">2021-10-07T17:2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7E621BD450FE4393E7623B49474285</vt:lpwstr>
  </property>
</Properties>
</file>